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9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8BD023-ABE3-2D92-4BC3-80F60DD4C0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3E37221-26FB-C49F-8BBA-CECB39520D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E37221-26FB-C49F-8BBA-CECB39520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B2949D-1DA5-7875-38CE-910918D09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5"/>
          </a:xfrm>
        </p:spPr>
        <p:txBody>
          <a:bodyPr vert="horz"/>
          <a:lstStyle/>
          <a:p>
            <a:r>
              <a:rPr lang="en-US" dirty="0"/>
              <a:t>Icons (1/3) </a:t>
            </a:r>
            <a:endParaRPr lang="en-IN" dirty="0"/>
          </a:p>
        </p:txBody>
      </p:sp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id="{C2532FBB-123A-5086-135F-B9D337847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1" name="Shape 2525">
            <a:extLst>
              <a:ext uri="{FF2B5EF4-FFF2-40B4-BE49-F238E27FC236}">
                <a16:creationId xmlns:a16="http://schemas.microsoft.com/office/drawing/2014/main" id="{BD9CC875-0CBF-F975-3F24-FFA89A6FAC90}"/>
              </a:ext>
            </a:extLst>
          </p:cNvPr>
          <p:cNvSpPr/>
          <p:nvPr/>
        </p:nvSpPr>
        <p:spPr>
          <a:xfrm>
            <a:off x="714375" y="192978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2" name="Shape 2526">
            <a:extLst>
              <a:ext uri="{FF2B5EF4-FFF2-40B4-BE49-F238E27FC236}">
                <a16:creationId xmlns:a16="http://schemas.microsoft.com/office/drawing/2014/main" id="{44CC2087-080B-FD2B-AC99-4E58C4D88684}"/>
              </a:ext>
            </a:extLst>
          </p:cNvPr>
          <p:cNvSpPr/>
          <p:nvPr/>
        </p:nvSpPr>
        <p:spPr>
          <a:xfrm>
            <a:off x="2119350" y="192978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" name="Shape 2527">
            <a:extLst>
              <a:ext uri="{FF2B5EF4-FFF2-40B4-BE49-F238E27FC236}">
                <a16:creationId xmlns:a16="http://schemas.microsoft.com/office/drawing/2014/main" id="{4E75BF18-F118-20AF-80F4-DF481C22E836}"/>
              </a:ext>
            </a:extLst>
          </p:cNvPr>
          <p:cNvSpPr/>
          <p:nvPr/>
        </p:nvSpPr>
        <p:spPr>
          <a:xfrm>
            <a:off x="2919450" y="192978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" name="Shape 2528">
            <a:extLst>
              <a:ext uri="{FF2B5EF4-FFF2-40B4-BE49-F238E27FC236}">
                <a16:creationId xmlns:a16="http://schemas.microsoft.com/office/drawing/2014/main" id="{CF27A964-E154-9983-7AB4-BB80840DF05C}"/>
              </a:ext>
            </a:extLst>
          </p:cNvPr>
          <p:cNvSpPr/>
          <p:nvPr/>
        </p:nvSpPr>
        <p:spPr>
          <a:xfrm>
            <a:off x="3776700" y="1929788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" name="Shape 2529">
            <a:extLst>
              <a:ext uri="{FF2B5EF4-FFF2-40B4-BE49-F238E27FC236}">
                <a16:creationId xmlns:a16="http://schemas.microsoft.com/office/drawing/2014/main" id="{6E9F3189-A8FD-38C4-9BDB-8A166972ECFE}"/>
              </a:ext>
            </a:extLst>
          </p:cNvPr>
          <p:cNvSpPr/>
          <p:nvPr/>
        </p:nvSpPr>
        <p:spPr>
          <a:xfrm>
            <a:off x="4576800" y="1929788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8" name="Shape 2530">
            <a:extLst>
              <a:ext uri="{FF2B5EF4-FFF2-40B4-BE49-F238E27FC236}">
                <a16:creationId xmlns:a16="http://schemas.microsoft.com/office/drawing/2014/main" id="{18631735-C735-6729-AE5B-C4C34FA7E155}"/>
              </a:ext>
            </a:extLst>
          </p:cNvPr>
          <p:cNvSpPr/>
          <p:nvPr/>
        </p:nvSpPr>
        <p:spPr>
          <a:xfrm>
            <a:off x="5357849" y="1929787"/>
            <a:ext cx="342901" cy="4190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9" name="Shape 2531">
            <a:extLst>
              <a:ext uri="{FF2B5EF4-FFF2-40B4-BE49-F238E27FC236}">
                <a16:creationId xmlns:a16="http://schemas.microsoft.com/office/drawing/2014/main" id="{0C8D2EEB-30DE-DB1D-1664-63A8DC43C708}"/>
              </a:ext>
            </a:extLst>
          </p:cNvPr>
          <p:cNvSpPr/>
          <p:nvPr/>
        </p:nvSpPr>
        <p:spPr>
          <a:xfrm>
            <a:off x="6157949" y="1929788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0" name="Shape 2532">
            <a:extLst>
              <a:ext uri="{FF2B5EF4-FFF2-40B4-BE49-F238E27FC236}">
                <a16:creationId xmlns:a16="http://schemas.microsoft.com/office/drawing/2014/main" id="{606E448F-92F3-0627-1D60-CDEB540DD84B}"/>
              </a:ext>
            </a:extLst>
          </p:cNvPr>
          <p:cNvSpPr/>
          <p:nvPr/>
        </p:nvSpPr>
        <p:spPr>
          <a:xfrm>
            <a:off x="6958049" y="1929788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" name="Shape 2533">
            <a:extLst>
              <a:ext uri="{FF2B5EF4-FFF2-40B4-BE49-F238E27FC236}">
                <a16:creationId xmlns:a16="http://schemas.microsoft.com/office/drawing/2014/main" id="{72D749FF-B574-F461-B270-1DA85641799E}"/>
              </a:ext>
            </a:extLst>
          </p:cNvPr>
          <p:cNvSpPr/>
          <p:nvPr/>
        </p:nvSpPr>
        <p:spPr>
          <a:xfrm>
            <a:off x="7758150" y="1929788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" name="Shape 2534">
            <a:extLst>
              <a:ext uri="{FF2B5EF4-FFF2-40B4-BE49-F238E27FC236}">
                <a16:creationId xmlns:a16="http://schemas.microsoft.com/office/drawing/2014/main" id="{6F375FFD-E155-A1EC-AD86-584C03ED71F7}"/>
              </a:ext>
            </a:extLst>
          </p:cNvPr>
          <p:cNvSpPr/>
          <p:nvPr/>
        </p:nvSpPr>
        <p:spPr>
          <a:xfrm>
            <a:off x="8558250" y="1929787"/>
            <a:ext cx="342901" cy="4190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" name="Shape 2535">
            <a:extLst>
              <a:ext uri="{FF2B5EF4-FFF2-40B4-BE49-F238E27FC236}">
                <a16:creationId xmlns:a16="http://schemas.microsoft.com/office/drawing/2014/main" id="{3ADE0B1F-F544-18ED-29CE-33CAA650AD15}"/>
              </a:ext>
            </a:extLst>
          </p:cNvPr>
          <p:cNvSpPr/>
          <p:nvPr/>
        </p:nvSpPr>
        <p:spPr>
          <a:xfrm>
            <a:off x="714375" y="2729803"/>
            <a:ext cx="342901" cy="4190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" name="Shape 2536">
            <a:extLst>
              <a:ext uri="{FF2B5EF4-FFF2-40B4-BE49-F238E27FC236}">
                <a16:creationId xmlns:a16="http://schemas.microsoft.com/office/drawing/2014/main" id="{3C4CDE98-6425-9F47-2B19-F8D9C043376C}"/>
              </a:ext>
            </a:extLst>
          </p:cNvPr>
          <p:cNvSpPr/>
          <p:nvPr/>
        </p:nvSpPr>
        <p:spPr>
          <a:xfrm>
            <a:off x="2119350" y="2729803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" name="Shape 2537">
            <a:extLst>
              <a:ext uri="{FF2B5EF4-FFF2-40B4-BE49-F238E27FC236}">
                <a16:creationId xmlns:a16="http://schemas.microsoft.com/office/drawing/2014/main" id="{CD416BF5-B996-825F-C68F-EE397C76C978}"/>
              </a:ext>
            </a:extLst>
          </p:cNvPr>
          <p:cNvSpPr/>
          <p:nvPr/>
        </p:nvSpPr>
        <p:spPr>
          <a:xfrm>
            <a:off x="2957550" y="2729803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" name="Shape 2538">
            <a:extLst>
              <a:ext uri="{FF2B5EF4-FFF2-40B4-BE49-F238E27FC236}">
                <a16:creationId xmlns:a16="http://schemas.microsoft.com/office/drawing/2014/main" id="{0F5A97B4-AAC8-9327-373F-E36A9D754810}"/>
              </a:ext>
            </a:extLst>
          </p:cNvPr>
          <p:cNvSpPr/>
          <p:nvPr/>
        </p:nvSpPr>
        <p:spPr>
          <a:xfrm>
            <a:off x="3757650" y="2729803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" name="Shape 2539">
            <a:extLst>
              <a:ext uri="{FF2B5EF4-FFF2-40B4-BE49-F238E27FC236}">
                <a16:creationId xmlns:a16="http://schemas.microsoft.com/office/drawing/2014/main" id="{3404E781-6C40-19F6-EF4D-2CAA161C076C}"/>
              </a:ext>
            </a:extLst>
          </p:cNvPr>
          <p:cNvSpPr/>
          <p:nvPr/>
        </p:nvSpPr>
        <p:spPr>
          <a:xfrm>
            <a:off x="4519650" y="2796471"/>
            <a:ext cx="419100" cy="285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" name="Shape 2540">
            <a:extLst>
              <a:ext uri="{FF2B5EF4-FFF2-40B4-BE49-F238E27FC236}">
                <a16:creationId xmlns:a16="http://schemas.microsoft.com/office/drawing/2014/main" id="{6D1DF46E-4E89-00FD-5FC9-DA805DB8788A}"/>
              </a:ext>
            </a:extLst>
          </p:cNvPr>
          <p:cNvSpPr/>
          <p:nvPr/>
        </p:nvSpPr>
        <p:spPr>
          <a:xfrm>
            <a:off x="5319751" y="2729803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" name="Shape 2541">
            <a:extLst>
              <a:ext uri="{FF2B5EF4-FFF2-40B4-BE49-F238E27FC236}">
                <a16:creationId xmlns:a16="http://schemas.microsoft.com/office/drawing/2014/main" id="{26346EEA-5D7E-0F11-82FD-C83E19154A8B}"/>
              </a:ext>
            </a:extLst>
          </p:cNvPr>
          <p:cNvSpPr/>
          <p:nvPr/>
        </p:nvSpPr>
        <p:spPr>
          <a:xfrm>
            <a:off x="6157949" y="2767899"/>
            <a:ext cx="342901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" name="Shape 2542">
            <a:extLst>
              <a:ext uri="{FF2B5EF4-FFF2-40B4-BE49-F238E27FC236}">
                <a16:creationId xmlns:a16="http://schemas.microsoft.com/office/drawing/2014/main" id="{9F20CAB5-AE7B-44C9-D286-78409D8CD661}"/>
              </a:ext>
            </a:extLst>
          </p:cNvPr>
          <p:cNvSpPr/>
          <p:nvPr/>
        </p:nvSpPr>
        <p:spPr>
          <a:xfrm>
            <a:off x="6919950" y="2729803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" name="Shape 2543">
            <a:extLst>
              <a:ext uri="{FF2B5EF4-FFF2-40B4-BE49-F238E27FC236}">
                <a16:creationId xmlns:a16="http://schemas.microsoft.com/office/drawing/2014/main" id="{C89EC582-20F3-CEEC-590A-F4926354EDB2}"/>
              </a:ext>
            </a:extLst>
          </p:cNvPr>
          <p:cNvSpPr/>
          <p:nvPr/>
        </p:nvSpPr>
        <p:spPr>
          <a:xfrm>
            <a:off x="7720050" y="2729803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" name="Shape 2544">
            <a:extLst>
              <a:ext uri="{FF2B5EF4-FFF2-40B4-BE49-F238E27FC236}">
                <a16:creationId xmlns:a16="http://schemas.microsoft.com/office/drawing/2014/main" id="{D2193083-D348-3CF6-F393-2ADF1926030D}"/>
              </a:ext>
            </a:extLst>
          </p:cNvPr>
          <p:cNvSpPr/>
          <p:nvPr/>
        </p:nvSpPr>
        <p:spPr>
          <a:xfrm>
            <a:off x="8520150" y="2729803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3" name="Shape 2545">
            <a:extLst>
              <a:ext uri="{FF2B5EF4-FFF2-40B4-BE49-F238E27FC236}">
                <a16:creationId xmlns:a16="http://schemas.microsoft.com/office/drawing/2014/main" id="{35DAC335-C68C-6950-B397-26390F940736}"/>
              </a:ext>
            </a:extLst>
          </p:cNvPr>
          <p:cNvSpPr/>
          <p:nvPr/>
        </p:nvSpPr>
        <p:spPr>
          <a:xfrm>
            <a:off x="714375" y="352981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4" name="Shape 2546">
            <a:extLst>
              <a:ext uri="{FF2B5EF4-FFF2-40B4-BE49-F238E27FC236}">
                <a16:creationId xmlns:a16="http://schemas.microsoft.com/office/drawing/2014/main" id="{ABE1C2F3-1F60-E68C-5D90-31CB45329168}"/>
              </a:ext>
            </a:extLst>
          </p:cNvPr>
          <p:cNvSpPr/>
          <p:nvPr/>
        </p:nvSpPr>
        <p:spPr>
          <a:xfrm>
            <a:off x="2119350" y="3567914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5" name="Shape 2547">
            <a:extLst>
              <a:ext uri="{FF2B5EF4-FFF2-40B4-BE49-F238E27FC236}">
                <a16:creationId xmlns:a16="http://schemas.microsoft.com/office/drawing/2014/main" id="{D5D9C5EC-BDCF-05B2-6B7B-DB5B9C8A1443}"/>
              </a:ext>
            </a:extLst>
          </p:cNvPr>
          <p:cNvSpPr/>
          <p:nvPr/>
        </p:nvSpPr>
        <p:spPr>
          <a:xfrm>
            <a:off x="2919450" y="352981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6" name="Shape 2548">
            <a:extLst>
              <a:ext uri="{FF2B5EF4-FFF2-40B4-BE49-F238E27FC236}">
                <a16:creationId xmlns:a16="http://schemas.microsoft.com/office/drawing/2014/main" id="{17264C98-ACB5-5F4C-BBF4-4516202E6892}"/>
              </a:ext>
            </a:extLst>
          </p:cNvPr>
          <p:cNvSpPr/>
          <p:nvPr/>
        </p:nvSpPr>
        <p:spPr>
          <a:xfrm>
            <a:off x="3719550" y="3691726"/>
            <a:ext cx="419100" cy="952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7" name="Shape 2549">
            <a:extLst>
              <a:ext uri="{FF2B5EF4-FFF2-40B4-BE49-F238E27FC236}">
                <a16:creationId xmlns:a16="http://schemas.microsoft.com/office/drawing/2014/main" id="{BE947862-4D5C-20F4-6B02-C64A43F1FED5}"/>
              </a:ext>
            </a:extLst>
          </p:cNvPr>
          <p:cNvSpPr/>
          <p:nvPr/>
        </p:nvSpPr>
        <p:spPr>
          <a:xfrm>
            <a:off x="4519650" y="352981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8" name="Shape 2550">
            <a:extLst>
              <a:ext uri="{FF2B5EF4-FFF2-40B4-BE49-F238E27FC236}">
                <a16:creationId xmlns:a16="http://schemas.microsoft.com/office/drawing/2014/main" id="{5C6B87C4-B841-8974-9254-58A607B859A2}"/>
              </a:ext>
            </a:extLst>
          </p:cNvPr>
          <p:cNvSpPr/>
          <p:nvPr/>
        </p:nvSpPr>
        <p:spPr>
          <a:xfrm>
            <a:off x="5319751" y="352981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9" name="Shape 2551">
            <a:extLst>
              <a:ext uri="{FF2B5EF4-FFF2-40B4-BE49-F238E27FC236}">
                <a16:creationId xmlns:a16="http://schemas.microsoft.com/office/drawing/2014/main" id="{EE5197CD-A659-BE08-76FD-36C09F597C7C}"/>
              </a:ext>
            </a:extLst>
          </p:cNvPr>
          <p:cNvSpPr/>
          <p:nvPr/>
        </p:nvSpPr>
        <p:spPr>
          <a:xfrm>
            <a:off x="6119851" y="352981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60" name="Shape 2552">
            <a:extLst>
              <a:ext uri="{FF2B5EF4-FFF2-40B4-BE49-F238E27FC236}">
                <a16:creationId xmlns:a16="http://schemas.microsoft.com/office/drawing/2014/main" id="{64527AF9-C992-A40A-912F-8850C4D21682}"/>
              </a:ext>
            </a:extLst>
          </p:cNvPr>
          <p:cNvSpPr/>
          <p:nvPr/>
        </p:nvSpPr>
        <p:spPr>
          <a:xfrm>
            <a:off x="6919950" y="3548866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61" name="Shape 2553">
            <a:extLst>
              <a:ext uri="{FF2B5EF4-FFF2-40B4-BE49-F238E27FC236}">
                <a16:creationId xmlns:a16="http://schemas.microsoft.com/office/drawing/2014/main" id="{B4B0DBF0-B95B-846E-D2DA-39AEF4F93FBC}"/>
              </a:ext>
            </a:extLst>
          </p:cNvPr>
          <p:cNvSpPr/>
          <p:nvPr/>
        </p:nvSpPr>
        <p:spPr>
          <a:xfrm>
            <a:off x="7720050" y="3548866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62" name="Shape 2554">
            <a:extLst>
              <a:ext uri="{FF2B5EF4-FFF2-40B4-BE49-F238E27FC236}">
                <a16:creationId xmlns:a16="http://schemas.microsoft.com/office/drawing/2014/main" id="{2D5D4E00-B94F-75DA-0388-CC6C50D48B66}"/>
              </a:ext>
            </a:extLst>
          </p:cNvPr>
          <p:cNvSpPr/>
          <p:nvPr/>
        </p:nvSpPr>
        <p:spPr>
          <a:xfrm>
            <a:off x="8520150" y="3548866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63" name="Shape 2555">
            <a:extLst>
              <a:ext uri="{FF2B5EF4-FFF2-40B4-BE49-F238E27FC236}">
                <a16:creationId xmlns:a16="http://schemas.microsoft.com/office/drawing/2014/main" id="{A71C879E-F130-7B43-051A-2ECFE7568E5A}"/>
              </a:ext>
            </a:extLst>
          </p:cNvPr>
          <p:cNvSpPr/>
          <p:nvPr/>
        </p:nvSpPr>
        <p:spPr>
          <a:xfrm>
            <a:off x="714375" y="432983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28" name="Shape 2556">
            <a:extLst>
              <a:ext uri="{FF2B5EF4-FFF2-40B4-BE49-F238E27FC236}">
                <a16:creationId xmlns:a16="http://schemas.microsoft.com/office/drawing/2014/main" id="{3C2E51E9-9A05-9CCE-1EC9-46BD35227175}"/>
              </a:ext>
            </a:extLst>
          </p:cNvPr>
          <p:cNvSpPr/>
          <p:nvPr/>
        </p:nvSpPr>
        <p:spPr>
          <a:xfrm>
            <a:off x="2119350" y="432983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29" name="Shape 2557">
            <a:extLst>
              <a:ext uri="{FF2B5EF4-FFF2-40B4-BE49-F238E27FC236}">
                <a16:creationId xmlns:a16="http://schemas.microsoft.com/office/drawing/2014/main" id="{7360CE19-09B5-73CB-8C11-DB3788ABE833}"/>
              </a:ext>
            </a:extLst>
          </p:cNvPr>
          <p:cNvSpPr/>
          <p:nvPr/>
        </p:nvSpPr>
        <p:spPr>
          <a:xfrm>
            <a:off x="2919450" y="432983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0" name="Shape 2558">
            <a:extLst>
              <a:ext uri="{FF2B5EF4-FFF2-40B4-BE49-F238E27FC236}">
                <a16:creationId xmlns:a16="http://schemas.microsoft.com/office/drawing/2014/main" id="{816B48F4-0A62-B4A4-4EED-C481CE3FFB0C}"/>
              </a:ext>
            </a:extLst>
          </p:cNvPr>
          <p:cNvSpPr/>
          <p:nvPr/>
        </p:nvSpPr>
        <p:spPr>
          <a:xfrm>
            <a:off x="3719550" y="432983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1" name="Shape 2559">
            <a:extLst>
              <a:ext uri="{FF2B5EF4-FFF2-40B4-BE49-F238E27FC236}">
                <a16:creationId xmlns:a16="http://schemas.microsoft.com/office/drawing/2014/main" id="{5B9C7302-B10E-0360-8F0A-6C05C84A2552}"/>
              </a:ext>
            </a:extLst>
          </p:cNvPr>
          <p:cNvSpPr/>
          <p:nvPr/>
        </p:nvSpPr>
        <p:spPr>
          <a:xfrm>
            <a:off x="4519650" y="4367929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6" name="Shape 2560">
            <a:extLst>
              <a:ext uri="{FF2B5EF4-FFF2-40B4-BE49-F238E27FC236}">
                <a16:creationId xmlns:a16="http://schemas.microsoft.com/office/drawing/2014/main" id="{1431C6B7-D54C-84AB-9828-CE2A18344AB7}"/>
              </a:ext>
            </a:extLst>
          </p:cNvPr>
          <p:cNvSpPr/>
          <p:nvPr/>
        </p:nvSpPr>
        <p:spPr>
          <a:xfrm>
            <a:off x="5319751" y="432983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8" name="Shape 2561">
            <a:extLst>
              <a:ext uri="{FF2B5EF4-FFF2-40B4-BE49-F238E27FC236}">
                <a16:creationId xmlns:a16="http://schemas.microsoft.com/office/drawing/2014/main" id="{7CDC43D2-1539-A7FE-7903-80B1F0471374}"/>
              </a:ext>
            </a:extLst>
          </p:cNvPr>
          <p:cNvSpPr/>
          <p:nvPr/>
        </p:nvSpPr>
        <p:spPr>
          <a:xfrm>
            <a:off x="6119851" y="4367929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9" name="Shape 2562">
            <a:extLst>
              <a:ext uri="{FF2B5EF4-FFF2-40B4-BE49-F238E27FC236}">
                <a16:creationId xmlns:a16="http://schemas.microsoft.com/office/drawing/2014/main" id="{93E6AD6F-14BA-939B-A6D3-0919790077A7}"/>
              </a:ext>
            </a:extLst>
          </p:cNvPr>
          <p:cNvSpPr/>
          <p:nvPr/>
        </p:nvSpPr>
        <p:spPr>
          <a:xfrm>
            <a:off x="6919950" y="432983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0" name="Shape 2563">
            <a:extLst>
              <a:ext uri="{FF2B5EF4-FFF2-40B4-BE49-F238E27FC236}">
                <a16:creationId xmlns:a16="http://schemas.microsoft.com/office/drawing/2014/main" id="{9E783076-A0EA-5F47-7BBD-564DD53F5F7A}"/>
              </a:ext>
            </a:extLst>
          </p:cNvPr>
          <p:cNvSpPr/>
          <p:nvPr/>
        </p:nvSpPr>
        <p:spPr>
          <a:xfrm>
            <a:off x="7720050" y="432983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1" name="Shape 2564">
            <a:extLst>
              <a:ext uri="{FF2B5EF4-FFF2-40B4-BE49-F238E27FC236}">
                <a16:creationId xmlns:a16="http://schemas.microsoft.com/office/drawing/2014/main" id="{42E4B98E-81D4-AFDD-FA8B-7C99B1718889}"/>
              </a:ext>
            </a:extLst>
          </p:cNvPr>
          <p:cNvSpPr/>
          <p:nvPr/>
        </p:nvSpPr>
        <p:spPr>
          <a:xfrm>
            <a:off x="8520150" y="432983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2" name="Shape 2565">
            <a:extLst>
              <a:ext uri="{FF2B5EF4-FFF2-40B4-BE49-F238E27FC236}">
                <a16:creationId xmlns:a16="http://schemas.microsoft.com/office/drawing/2014/main" id="{7B17B092-128E-C012-7A08-2891FAA5E8C3}"/>
              </a:ext>
            </a:extLst>
          </p:cNvPr>
          <p:cNvSpPr/>
          <p:nvPr/>
        </p:nvSpPr>
        <p:spPr>
          <a:xfrm>
            <a:off x="714375" y="5167944"/>
            <a:ext cx="419100" cy="3428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3" name="Shape 2566">
            <a:extLst>
              <a:ext uri="{FF2B5EF4-FFF2-40B4-BE49-F238E27FC236}">
                <a16:creationId xmlns:a16="http://schemas.microsoft.com/office/drawing/2014/main" id="{E00A5561-C0A7-DA97-0980-D317A185E6A0}"/>
              </a:ext>
            </a:extLst>
          </p:cNvPr>
          <p:cNvSpPr/>
          <p:nvPr/>
        </p:nvSpPr>
        <p:spPr>
          <a:xfrm>
            <a:off x="2119350" y="5167944"/>
            <a:ext cx="419100" cy="34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4" name="Shape 2567">
            <a:extLst>
              <a:ext uri="{FF2B5EF4-FFF2-40B4-BE49-F238E27FC236}">
                <a16:creationId xmlns:a16="http://schemas.microsoft.com/office/drawing/2014/main" id="{AC1A94D3-9784-6C75-EC7B-5BC9390B3B9E}"/>
              </a:ext>
            </a:extLst>
          </p:cNvPr>
          <p:cNvSpPr/>
          <p:nvPr/>
        </p:nvSpPr>
        <p:spPr>
          <a:xfrm>
            <a:off x="2919450" y="5129848"/>
            <a:ext cx="419100" cy="4190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5" name="Shape 2568">
            <a:extLst>
              <a:ext uri="{FF2B5EF4-FFF2-40B4-BE49-F238E27FC236}">
                <a16:creationId xmlns:a16="http://schemas.microsoft.com/office/drawing/2014/main" id="{4CC19A18-109B-D2F5-5D40-4A3508F18F03}"/>
              </a:ext>
            </a:extLst>
          </p:cNvPr>
          <p:cNvSpPr/>
          <p:nvPr/>
        </p:nvSpPr>
        <p:spPr>
          <a:xfrm>
            <a:off x="3719550" y="5129848"/>
            <a:ext cx="419100" cy="4190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6" name="Shape 2569">
            <a:extLst>
              <a:ext uri="{FF2B5EF4-FFF2-40B4-BE49-F238E27FC236}">
                <a16:creationId xmlns:a16="http://schemas.microsoft.com/office/drawing/2014/main" id="{238FCE6C-C654-EC06-1C0C-44B47694E9EA}"/>
              </a:ext>
            </a:extLst>
          </p:cNvPr>
          <p:cNvSpPr/>
          <p:nvPr/>
        </p:nvSpPr>
        <p:spPr>
          <a:xfrm>
            <a:off x="4519650" y="5129847"/>
            <a:ext cx="419100" cy="4190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7" name="Shape 2570">
            <a:extLst>
              <a:ext uri="{FF2B5EF4-FFF2-40B4-BE49-F238E27FC236}">
                <a16:creationId xmlns:a16="http://schemas.microsoft.com/office/drawing/2014/main" id="{A714D50D-05C7-DADA-E884-53B5B4EE96A3}"/>
              </a:ext>
            </a:extLst>
          </p:cNvPr>
          <p:cNvSpPr/>
          <p:nvPr/>
        </p:nvSpPr>
        <p:spPr>
          <a:xfrm>
            <a:off x="5319751" y="5139372"/>
            <a:ext cx="419100" cy="4095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8" name="Shape 2571">
            <a:extLst>
              <a:ext uri="{FF2B5EF4-FFF2-40B4-BE49-F238E27FC236}">
                <a16:creationId xmlns:a16="http://schemas.microsoft.com/office/drawing/2014/main" id="{A833EDDE-0AE6-6BA6-79B7-119D72871E7F}"/>
              </a:ext>
            </a:extLst>
          </p:cNvPr>
          <p:cNvSpPr/>
          <p:nvPr/>
        </p:nvSpPr>
        <p:spPr>
          <a:xfrm>
            <a:off x="6119851" y="5129849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9" name="Shape 2572">
            <a:extLst>
              <a:ext uri="{FF2B5EF4-FFF2-40B4-BE49-F238E27FC236}">
                <a16:creationId xmlns:a16="http://schemas.microsoft.com/office/drawing/2014/main" id="{E9DBA2F2-B1CF-4F00-EFBD-ECC804704B53}"/>
              </a:ext>
            </a:extLst>
          </p:cNvPr>
          <p:cNvSpPr/>
          <p:nvPr/>
        </p:nvSpPr>
        <p:spPr>
          <a:xfrm>
            <a:off x="6919950" y="5129849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5" name="Shape 2573">
            <a:extLst>
              <a:ext uri="{FF2B5EF4-FFF2-40B4-BE49-F238E27FC236}">
                <a16:creationId xmlns:a16="http://schemas.microsoft.com/office/drawing/2014/main" id="{61670693-2A9C-2FEA-B118-1AF8283AAEC6}"/>
              </a:ext>
            </a:extLst>
          </p:cNvPr>
          <p:cNvSpPr/>
          <p:nvPr/>
        </p:nvSpPr>
        <p:spPr>
          <a:xfrm>
            <a:off x="7720050" y="5129849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6" name="Shape 2574">
            <a:extLst>
              <a:ext uri="{FF2B5EF4-FFF2-40B4-BE49-F238E27FC236}">
                <a16:creationId xmlns:a16="http://schemas.microsoft.com/office/drawing/2014/main" id="{8C5D80D7-859C-671A-29B5-8693B1E42C8E}"/>
              </a:ext>
            </a:extLst>
          </p:cNvPr>
          <p:cNvSpPr/>
          <p:nvPr/>
        </p:nvSpPr>
        <p:spPr>
          <a:xfrm>
            <a:off x="8539200" y="5129849"/>
            <a:ext cx="3810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7" name="Shape 2575">
            <a:extLst>
              <a:ext uri="{FF2B5EF4-FFF2-40B4-BE49-F238E27FC236}">
                <a16:creationId xmlns:a16="http://schemas.microsoft.com/office/drawing/2014/main" id="{3479624B-A5F9-F813-00E1-1746C8630D41}"/>
              </a:ext>
            </a:extLst>
          </p:cNvPr>
          <p:cNvSpPr/>
          <p:nvPr/>
        </p:nvSpPr>
        <p:spPr>
          <a:xfrm>
            <a:off x="714375" y="592986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8" name="Shape 2576">
            <a:extLst>
              <a:ext uri="{FF2B5EF4-FFF2-40B4-BE49-F238E27FC236}">
                <a16:creationId xmlns:a16="http://schemas.microsoft.com/office/drawing/2014/main" id="{83A96C88-0EED-A27B-BB4D-0396826B1B43}"/>
              </a:ext>
            </a:extLst>
          </p:cNvPr>
          <p:cNvSpPr/>
          <p:nvPr/>
        </p:nvSpPr>
        <p:spPr>
          <a:xfrm>
            <a:off x="2119350" y="592986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9" name="Shape 2577">
            <a:extLst>
              <a:ext uri="{FF2B5EF4-FFF2-40B4-BE49-F238E27FC236}">
                <a16:creationId xmlns:a16="http://schemas.microsoft.com/office/drawing/2014/main" id="{9EF7FBC3-C2C0-4618-29E6-E03AE0F4BEC6}"/>
              </a:ext>
            </a:extLst>
          </p:cNvPr>
          <p:cNvSpPr/>
          <p:nvPr/>
        </p:nvSpPr>
        <p:spPr>
          <a:xfrm>
            <a:off x="2938500" y="5929864"/>
            <a:ext cx="3810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0" name="Shape 2578">
            <a:extLst>
              <a:ext uri="{FF2B5EF4-FFF2-40B4-BE49-F238E27FC236}">
                <a16:creationId xmlns:a16="http://schemas.microsoft.com/office/drawing/2014/main" id="{CC5FD711-FE3C-3126-3B73-9C7201931336}"/>
              </a:ext>
            </a:extLst>
          </p:cNvPr>
          <p:cNvSpPr/>
          <p:nvPr/>
        </p:nvSpPr>
        <p:spPr>
          <a:xfrm>
            <a:off x="3795750" y="5929864"/>
            <a:ext cx="2667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1" name="Shape 2579">
            <a:extLst>
              <a:ext uri="{FF2B5EF4-FFF2-40B4-BE49-F238E27FC236}">
                <a16:creationId xmlns:a16="http://schemas.microsoft.com/office/drawing/2014/main" id="{2A711764-593E-0AFE-AB30-807A9AE077E5}"/>
              </a:ext>
            </a:extLst>
          </p:cNvPr>
          <p:cNvSpPr/>
          <p:nvPr/>
        </p:nvSpPr>
        <p:spPr>
          <a:xfrm>
            <a:off x="4519650" y="592986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2" name="Shape 2580">
            <a:extLst>
              <a:ext uri="{FF2B5EF4-FFF2-40B4-BE49-F238E27FC236}">
                <a16:creationId xmlns:a16="http://schemas.microsoft.com/office/drawing/2014/main" id="{4DAB9AE0-A1E4-370B-2392-628CEE899E97}"/>
              </a:ext>
            </a:extLst>
          </p:cNvPr>
          <p:cNvSpPr/>
          <p:nvPr/>
        </p:nvSpPr>
        <p:spPr>
          <a:xfrm>
            <a:off x="5319751" y="592986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3" name="Shape 2581">
            <a:extLst>
              <a:ext uri="{FF2B5EF4-FFF2-40B4-BE49-F238E27FC236}">
                <a16:creationId xmlns:a16="http://schemas.microsoft.com/office/drawing/2014/main" id="{0A185251-8264-CE98-D4FB-0878C26B1DA7}"/>
              </a:ext>
            </a:extLst>
          </p:cNvPr>
          <p:cNvSpPr/>
          <p:nvPr/>
        </p:nvSpPr>
        <p:spPr>
          <a:xfrm>
            <a:off x="6119851" y="592986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4" name="Shape 2582">
            <a:extLst>
              <a:ext uri="{FF2B5EF4-FFF2-40B4-BE49-F238E27FC236}">
                <a16:creationId xmlns:a16="http://schemas.microsoft.com/office/drawing/2014/main" id="{06C440C9-39F5-990B-39FB-1E9D9B6567F7}"/>
              </a:ext>
            </a:extLst>
          </p:cNvPr>
          <p:cNvSpPr/>
          <p:nvPr/>
        </p:nvSpPr>
        <p:spPr>
          <a:xfrm>
            <a:off x="6919950" y="592986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5" name="Shape 2583">
            <a:extLst>
              <a:ext uri="{FF2B5EF4-FFF2-40B4-BE49-F238E27FC236}">
                <a16:creationId xmlns:a16="http://schemas.microsoft.com/office/drawing/2014/main" id="{C5A96A84-6B42-3955-0F62-43C4BADC8668}"/>
              </a:ext>
            </a:extLst>
          </p:cNvPr>
          <p:cNvSpPr/>
          <p:nvPr/>
        </p:nvSpPr>
        <p:spPr>
          <a:xfrm>
            <a:off x="7720050" y="592986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6" name="Shape 2584">
            <a:extLst>
              <a:ext uri="{FF2B5EF4-FFF2-40B4-BE49-F238E27FC236}">
                <a16:creationId xmlns:a16="http://schemas.microsoft.com/office/drawing/2014/main" id="{39F440DA-4BDF-9031-DEFF-F6901331975E}"/>
              </a:ext>
            </a:extLst>
          </p:cNvPr>
          <p:cNvSpPr/>
          <p:nvPr/>
        </p:nvSpPr>
        <p:spPr>
          <a:xfrm>
            <a:off x="8520150" y="5929864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7" name="Shape 2585">
            <a:extLst>
              <a:ext uri="{FF2B5EF4-FFF2-40B4-BE49-F238E27FC236}">
                <a16:creationId xmlns:a16="http://schemas.microsoft.com/office/drawing/2014/main" id="{C14AE94B-4915-D13A-AEA9-60BEC0784612}"/>
              </a:ext>
            </a:extLst>
          </p:cNvPr>
          <p:cNvSpPr/>
          <p:nvPr/>
        </p:nvSpPr>
        <p:spPr>
          <a:xfrm>
            <a:off x="9415499" y="1929802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8" name="Shape 2586">
            <a:extLst>
              <a:ext uri="{FF2B5EF4-FFF2-40B4-BE49-F238E27FC236}">
                <a16:creationId xmlns:a16="http://schemas.microsoft.com/office/drawing/2014/main" id="{A7381FE3-69F2-9452-10A7-BB62FD836722}"/>
              </a:ext>
            </a:extLst>
          </p:cNvPr>
          <p:cNvSpPr/>
          <p:nvPr/>
        </p:nvSpPr>
        <p:spPr>
          <a:xfrm>
            <a:off x="10215599" y="1929802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9" name="Shape 2587">
            <a:extLst>
              <a:ext uri="{FF2B5EF4-FFF2-40B4-BE49-F238E27FC236}">
                <a16:creationId xmlns:a16="http://schemas.microsoft.com/office/drawing/2014/main" id="{E62A7865-CE3C-1262-A363-67DE1FDBC4B2}"/>
              </a:ext>
            </a:extLst>
          </p:cNvPr>
          <p:cNvSpPr/>
          <p:nvPr/>
        </p:nvSpPr>
        <p:spPr>
          <a:xfrm>
            <a:off x="10977600" y="192980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70" name="Shape 2588">
            <a:extLst>
              <a:ext uri="{FF2B5EF4-FFF2-40B4-BE49-F238E27FC236}">
                <a16:creationId xmlns:a16="http://schemas.microsoft.com/office/drawing/2014/main" id="{9E3445D1-DC10-068D-10ED-E2FF1F9E0BEC}"/>
              </a:ext>
            </a:extLst>
          </p:cNvPr>
          <p:cNvSpPr/>
          <p:nvPr/>
        </p:nvSpPr>
        <p:spPr>
          <a:xfrm>
            <a:off x="11777700" y="1948849"/>
            <a:ext cx="419100" cy="3809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71" name="Shape 2589">
            <a:extLst>
              <a:ext uri="{FF2B5EF4-FFF2-40B4-BE49-F238E27FC236}">
                <a16:creationId xmlns:a16="http://schemas.microsoft.com/office/drawing/2014/main" id="{59120EC3-8CC4-E755-E297-20B4947342E0}"/>
              </a:ext>
            </a:extLst>
          </p:cNvPr>
          <p:cNvSpPr/>
          <p:nvPr/>
        </p:nvSpPr>
        <p:spPr>
          <a:xfrm>
            <a:off x="12577800" y="1948849"/>
            <a:ext cx="419100" cy="3809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72" name="Shape 2590">
            <a:extLst>
              <a:ext uri="{FF2B5EF4-FFF2-40B4-BE49-F238E27FC236}">
                <a16:creationId xmlns:a16="http://schemas.microsoft.com/office/drawing/2014/main" id="{F0F2A809-2EE6-6ED6-BEEC-BD5934C5F34A}"/>
              </a:ext>
            </a:extLst>
          </p:cNvPr>
          <p:cNvSpPr/>
          <p:nvPr/>
        </p:nvSpPr>
        <p:spPr>
          <a:xfrm>
            <a:off x="13377901" y="192980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76" name="Shape 2594">
            <a:extLst>
              <a:ext uri="{FF2B5EF4-FFF2-40B4-BE49-F238E27FC236}">
                <a16:creationId xmlns:a16="http://schemas.microsoft.com/office/drawing/2014/main" id="{4979A112-30A2-2B35-E2C2-2FCDA7343261}"/>
              </a:ext>
            </a:extLst>
          </p:cNvPr>
          <p:cNvSpPr/>
          <p:nvPr/>
        </p:nvSpPr>
        <p:spPr>
          <a:xfrm>
            <a:off x="17154525" y="1967898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77" name="Shape 2595">
            <a:extLst>
              <a:ext uri="{FF2B5EF4-FFF2-40B4-BE49-F238E27FC236}">
                <a16:creationId xmlns:a16="http://schemas.microsoft.com/office/drawing/2014/main" id="{E5F445F5-4E3F-05B2-3431-A31039388B8A}"/>
              </a:ext>
            </a:extLst>
          </p:cNvPr>
          <p:cNvSpPr/>
          <p:nvPr/>
        </p:nvSpPr>
        <p:spPr>
          <a:xfrm>
            <a:off x="9377401" y="2748865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78" name="Shape 2596">
            <a:extLst>
              <a:ext uri="{FF2B5EF4-FFF2-40B4-BE49-F238E27FC236}">
                <a16:creationId xmlns:a16="http://schemas.microsoft.com/office/drawing/2014/main" id="{A18E1255-10DC-59C2-86F2-7629D8A6DC61}"/>
              </a:ext>
            </a:extLst>
          </p:cNvPr>
          <p:cNvSpPr/>
          <p:nvPr/>
        </p:nvSpPr>
        <p:spPr>
          <a:xfrm>
            <a:off x="10177500" y="2786961"/>
            <a:ext cx="419100" cy="304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79" name="Shape 2597">
            <a:extLst>
              <a:ext uri="{FF2B5EF4-FFF2-40B4-BE49-F238E27FC236}">
                <a16:creationId xmlns:a16="http://schemas.microsoft.com/office/drawing/2014/main" id="{62F48F6A-F07F-D16E-8E47-35BDAA6E2C9A}"/>
              </a:ext>
            </a:extLst>
          </p:cNvPr>
          <p:cNvSpPr/>
          <p:nvPr/>
        </p:nvSpPr>
        <p:spPr>
          <a:xfrm>
            <a:off x="10977600" y="2767913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80" name="Shape 2598">
            <a:extLst>
              <a:ext uri="{FF2B5EF4-FFF2-40B4-BE49-F238E27FC236}">
                <a16:creationId xmlns:a16="http://schemas.microsoft.com/office/drawing/2014/main" id="{1AE488E3-22B6-D76C-752D-56C16D5C2062}"/>
              </a:ext>
            </a:extLst>
          </p:cNvPr>
          <p:cNvSpPr/>
          <p:nvPr/>
        </p:nvSpPr>
        <p:spPr>
          <a:xfrm>
            <a:off x="11777700" y="2767913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81" name="Shape 2599">
            <a:extLst>
              <a:ext uri="{FF2B5EF4-FFF2-40B4-BE49-F238E27FC236}">
                <a16:creationId xmlns:a16="http://schemas.microsoft.com/office/drawing/2014/main" id="{8C6A9605-0A83-4A48-8A74-7F5B1290AA22}"/>
              </a:ext>
            </a:extLst>
          </p:cNvPr>
          <p:cNvSpPr/>
          <p:nvPr/>
        </p:nvSpPr>
        <p:spPr>
          <a:xfrm>
            <a:off x="12577800" y="27298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82" name="Shape 2600">
            <a:extLst>
              <a:ext uri="{FF2B5EF4-FFF2-40B4-BE49-F238E27FC236}">
                <a16:creationId xmlns:a16="http://schemas.microsoft.com/office/drawing/2014/main" id="{FC420039-59F7-4860-6B07-465A0EA87B81}"/>
              </a:ext>
            </a:extLst>
          </p:cNvPr>
          <p:cNvSpPr/>
          <p:nvPr/>
        </p:nvSpPr>
        <p:spPr>
          <a:xfrm>
            <a:off x="13377901" y="27298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86" name="Shape 2604">
            <a:extLst>
              <a:ext uri="{FF2B5EF4-FFF2-40B4-BE49-F238E27FC236}">
                <a16:creationId xmlns:a16="http://schemas.microsoft.com/office/drawing/2014/main" id="{A2931F88-D736-1035-7B52-1945FAB1A728}"/>
              </a:ext>
            </a:extLst>
          </p:cNvPr>
          <p:cNvSpPr/>
          <p:nvPr/>
        </p:nvSpPr>
        <p:spPr>
          <a:xfrm>
            <a:off x="17154525" y="2767913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87" name="Shape 2605">
            <a:extLst>
              <a:ext uri="{FF2B5EF4-FFF2-40B4-BE49-F238E27FC236}">
                <a16:creationId xmlns:a16="http://schemas.microsoft.com/office/drawing/2014/main" id="{474B2941-F302-8A04-B8BD-E94D127C6286}"/>
              </a:ext>
            </a:extLst>
          </p:cNvPr>
          <p:cNvSpPr/>
          <p:nvPr/>
        </p:nvSpPr>
        <p:spPr>
          <a:xfrm>
            <a:off x="9377399" y="3529833"/>
            <a:ext cx="419299" cy="4192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88" name="Shape 2606">
            <a:extLst>
              <a:ext uri="{FF2B5EF4-FFF2-40B4-BE49-F238E27FC236}">
                <a16:creationId xmlns:a16="http://schemas.microsoft.com/office/drawing/2014/main" id="{B876C3AF-2FBE-0468-B52E-4E37B13159E1}"/>
              </a:ext>
            </a:extLst>
          </p:cNvPr>
          <p:cNvSpPr/>
          <p:nvPr/>
        </p:nvSpPr>
        <p:spPr>
          <a:xfrm>
            <a:off x="10177500" y="35298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89" name="Shape 2607">
            <a:extLst>
              <a:ext uri="{FF2B5EF4-FFF2-40B4-BE49-F238E27FC236}">
                <a16:creationId xmlns:a16="http://schemas.microsoft.com/office/drawing/2014/main" id="{5537CA4C-57C6-BC29-B33A-DE1D021866A3}"/>
              </a:ext>
            </a:extLst>
          </p:cNvPr>
          <p:cNvSpPr/>
          <p:nvPr/>
        </p:nvSpPr>
        <p:spPr>
          <a:xfrm>
            <a:off x="10977600" y="3567928"/>
            <a:ext cx="419100" cy="342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90" name="Shape 2608">
            <a:extLst>
              <a:ext uri="{FF2B5EF4-FFF2-40B4-BE49-F238E27FC236}">
                <a16:creationId xmlns:a16="http://schemas.microsoft.com/office/drawing/2014/main" id="{93EA31E4-8AE3-6056-299E-8A82848FE58E}"/>
              </a:ext>
            </a:extLst>
          </p:cNvPr>
          <p:cNvSpPr/>
          <p:nvPr/>
        </p:nvSpPr>
        <p:spPr>
          <a:xfrm>
            <a:off x="11777700" y="3567928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91" name="Shape 2609">
            <a:extLst>
              <a:ext uri="{FF2B5EF4-FFF2-40B4-BE49-F238E27FC236}">
                <a16:creationId xmlns:a16="http://schemas.microsoft.com/office/drawing/2014/main" id="{3083BFA8-B855-CEF7-D742-1ABC00E641A8}"/>
              </a:ext>
            </a:extLst>
          </p:cNvPr>
          <p:cNvSpPr/>
          <p:nvPr/>
        </p:nvSpPr>
        <p:spPr>
          <a:xfrm>
            <a:off x="12577800" y="3567928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20" name="Shape 2610">
            <a:extLst>
              <a:ext uri="{FF2B5EF4-FFF2-40B4-BE49-F238E27FC236}">
                <a16:creationId xmlns:a16="http://schemas.microsoft.com/office/drawing/2014/main" id="{D0AB0355-9496-4D54-157F-0FE052F31052}"/>
              </a:ext>
            </a:extLst>
          </p:cNvPr>
          <p:cNvSpPr/>
          <p:nvPr/>
        </p:nvSpPr>
        <p:spPr>
          <a:xfrm>
            <a:off x="13377901" y="3567928"/>
            <a:ext cx="419100" cy="3428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24" name="Shape 2614">
            <a:extLst>
              <a:ext uri="{FF2B5EF4-FFF2-40B4-BE49-F238E27FC236}">
                <a16:creationId xmlns:a16="http://schemas.microsoft.com/office/drawing/2014/main" id="{25B153EA-0D50-6DBF-9C3F-6009DB743BA5}"/>
              </a:ext>
            </a:extLst>
          </p:cNvPr>
          <p:cNvSpPr/>
          <p:nvPr/>
        </p:nvSpPr>
        <p:spPr>
          <a:xfrm>
            <a:off x="17154525" y="35298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25" name="Shape 2615">
            <a:extLst>
              <a:ext uri="{FF2B5EF4-FFF2-40B4-BE49-F238E27FC236}">
                <a16:creationId xmlns:a16="http://schemas.microsoft.com/office/drawing/2014/main" id="{215E39EE-A564-5A56-18A3-E240F8D8E06D}"/>
              </a:ext>
            </a:extLst>
          </p:cNvPr>
          <p:cNvSpPr/>
          <p:nvPr/>
        </p:nvSpPr>
        <p:spPr>
          <a:xfrm>
            <a:off x="9377401" y="432984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26" name="Shape 2616">
            <a:extLst>
              <a:ext uri="{FF2B5EF4-FFF2-40B4-BE49-F238E27FC236}">
                <a16:creationId xmlns:a16="http://schemas.microsoft.com/office/drawing/2014/main" id="{F8F60E39-D4A0-D529-FE3D-9F2E78E85C69}"/>
              </a:ext>
            </a:extLst>
          </p:cNvPr>
          <p:cNvSpPr/>
          <p:nvPr/>
        </p:nvSpPr>
        <p:spPr>
          <a:xfrm>
            <a:off x="10177500" y="4348895"/>
            <a:ext cx="419100" cy="381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27" name="Shape 2617">
            <a:extLst>
              <a:ext uri="{FF2B5EF4-FFF2-40B4-BE49-F238E27FC236}">
                <a16:creationId xmlns:a16="http://schemas.microsoft.com/office/drawing/2014/main" id="{B6EA65F8-A5C9-6FDB-93FD-128F031991DA}"/>
              </a:ext>
            </a:extLst>
          </p:cNvPr>
          <p:cNvSpPr/>
          <p:nvPr/>
        </p:nvSpPr>
        <p:spPr>
          <a:xfrm>
            <a:off x="10977600" y="4367943"/>
            <a:ext cx="419100" cy="342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28" name="Shape 2618">
            <a:extLst>
              <a:ext uri="{FF2B5EF4-FFF2-40B4-BE49-F238E27FC236}">
                <a16:creationId xmlns:a16="http://schemas.microsoft.com/office/drawing/2014/main" id="{323F1CBC-A386-5EC3-5E48-1BD81907AA2F}"/>
              </a:ext>
            </a:extLst>
          </p:cNvPr>
          <p:cNvSpPr/>
          <p:nvPr/>
        </p:nvSpPr>
        <p:spPr>
          <a:xfrm>
            <a:off x="11777699" y="4329848"/>
            <a:ext cx="419061" cy="4190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29" name="Shape 2619">
            <a:extLst>
              <a:ext uri="{FF2B5EF4-FFF2-40B4-BE49-F238E27FC236}">
                <a16:creationId xmlns:a16="http://schemas.microsoft.com/office/drawing/2014/main" id="{F2FF9FA1-B338-FDBC-4B61-54E2D651F5B7}"/>
              </a:ext>
            </a:extLst>
          </p:cNvPr>
          <p:cNvSpPr/>
          <p:nvPr/>
        </p:nvSpPr>
        <p:spPr>
          <a:xfrm>
            <a:off x="12577800" y="4329848"/>
            <a:ext cx="419100" cy="4190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30" name="Shape 2620">
            <a:extLst>
              <a:ext uri="{FF2B5EF4-FFF2-40B4-BE49-F238E27FC236}">
                <a16:creationId xmlns:a16="http://schemas.microsoft.com/office/drawing/2014/main" id="{4CA125D9-300A-3CD8-85F9-68F8F9F15B98}"/>
              </a:ext>
            </a:extLst>
          </p:cNvPr>
          <p:cNvSpPr/>
          <p:nvPr/>
        </p:nvSpPr>
        <p:spPr>
          <a:xfrm>
            <a:off x="13377901" y="4348895"/>
            <a:ext cx="419100" cy="3811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34" name="Shape 2624">
            <a:extLst>
              <a:ext uri="{FF2B5EF4-FFF2-40B4-BE49-F238E27FC236}">
                <a16:creationId xmlns:a16="http://schemas.microsoft.com/office/drawing/2014/main" id="{E9C33F7D-330B-D29F-EF6A-BB3D455233C8}"/>
              </a:ext>
            </a:extLst>
          </p:cNvPr>
          <p:cNvSpPr/>
          <p:nvPr/>
        </p:nvSpPr>
        <p:spPr>
          <a:xfrm>
            <a:off x="17154525" y="4329848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35" name="Shape 2625">
            <a:extLst>
              <a:ext uri="{FF2B5EF4-FFF2-40B4-BE49-F238E27FC236}">
                <a16:creationId xmlns:a16="http://schemas.microsoft.com/office/drawing/2014/main" id="{7C37DCD7-1477-D8B6-8706-640F5234DD81}"/>
              </a:ext>
            </a:extLst>
          </p:cNvPr>
          <p:cNvSpPr/>
          <p:nvPr/>
        </p:nvSpPr>
        <p:spPr>
          <a:xfrm>
            <a:off x="9377401" y="5167958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36" name="Shape 2626">
            <a:extLst>
              <a:ext uri="{FF2B5EF4-FFF2-40B4-BE49-F238E27FC236}">
                <a16:creationId xmlns:a16="http://schemas.microsoft.com/office/drawing/2014/main" id="{97F437B7-2480-95A2-B0D8-F2A88B5F868F}"/>
              </a:ext>
            </a:extLst>
          </p:cNvPr>
          <p:cNvSpPr/>
          <p:nvPr/>
        </p:nvSpPr>
        <p:spPr>
          <a:xfrm>
            <a:off x="10215599" y="5129863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37" name="Shape 2627">
            <a:extLst>
              <a:ext uri="{FF2B5EF4-FFF2-40B4-BE49-F238E27FC236}">
                <a16:creationId xmlns:a16="http://schemas.microsoft.com/office/drawing/2014/main" id="{37E15335-AC81-B2DE-A13F-DE66365421FF}"/>
              </a:ext>
            </a:extLst>
          </p:cNvPr>
          <p:cNvSpPr/>
          <p:nvPr/>
        </p:nvSpPr>
        <p:spPr>
          <a:xfrm>
            <a:off x="11044275" y="5129863"/>
            <a:ext cx="28575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38" name="Shape 2628">
            <a:extLst>
              <a:ext uri="{FF2B5EF4-FFF2-40B4-BE49-F238E27FC236}">
                <a16:creationId xmlns:a16="http://schemas.microsoft.com/office/drawing/2014/main" id="{A14395E7-DFFB-28CC-66DE-FEF5C0FB7950}"/>
              </a:ext>
            </a:extLst>
          </p:cNvPr>
          <p:cNvSpPr/>
          <p:nvPr/>
        </p:nvSpPr>
        <p:spPr>
          <a:xfrm>
            <a:off x="11777700" y="5129863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39" name="Shape 2629">
            <a:extLst>
              <a:ext uri="{FF2B5EF4-FFF2-40B4-BE49-F238E27FC236}">
                <a16:creationId xmlns:a16="http://schemas.microsoft.com/office/drawing/2014/main" id="{EF338814-D680-A0C3-CA97-59B237A0397A}"/>
              </a:ext>
            </a:extLst>
          </p:cNvPr>
          <p:cNvSpPr/>
          <p:nvPr/>
        </p:nvSpPr>
        <p:spPr>
          <a:xfrm>
            <a:off x="12577799" y="5129863"/>
            <a:ext cx="419217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40" name="Shape 2630">
            <a:extLst>
              <a:ext uri="{FF2B5EF4-FFF2-40B4-BE49-F238E27FC236}">
                <a16:creationId xmlns:a16="http://schemas.microsoft.com/office/drawing/2014/main" id="{9FD6493B-B3FC-9AC6-A714-2AB3AECC974E}"/>
              </a:ext>
            </a:extLst>
          </p:cNvPr>
          <p:cNvSpPr/>
          <p:nvPr/>
        </p:nvSpPr>
        <p:spPr>
          <a:xfrm>
            <a:off x="13473150" y="5129863"/>
            <a:ext cx="22861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44" name="Shape 2634">
            <a:extLst>
              <a:ext uri="{FF2B5EF4-FFF2-40B4-BE49-F238E27FC236}">
                <a16:creationId xmlns:a16="http://schemas.microsoft.com/office/drawing/2014/main" id="{29890FA0-83C7-24F7-75E3-670332B612F8}"/>
              </a:ext>
            </a:extLst>
          </p:cNvPr>
          <p:cNvSpPr/>
          <p:nvPr/>
        </p:nvSpPr>
        <p:spPr>
          <a:xfrm>
            <a:off x="17154525" y="5129863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45" name="Shape 2831">
            <a:extLst>
              <a:ext uri="{FF2B5EF4-FFF2-40B4-BE49-F238E27FC236}">
                <a16:creationId xmlns:a16="http://schemas.microsoft.com/office/drawing/2014/main" id="{3BDC83D9-4305-F440-631A-72C5215BE989}"/>
              </a:ext>
            </a:extLst>
          </p:cNvPr>
          <p:cNvSpPr/>
          <p:nvPr/>
        </p:nvSpPr>
        <p:spPr>
          <a:xfrm>
            <a:off x="714375" y="6927417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46" name="Shape 2832">
            <a:extLst>
              <a:ext uri="{FF2B5EF4-FFF2-40B4-BE49-F238E27FC236}">
                <a16:creationId xmlns:a16="http://schemas.microsoft.com/office/drawing/2014/main" id="{BCDB4B3A-F3EA-61F6-4E3B-D36083CDE3AC}"/>
              </a:ext>
            </a:extLst>
          </p:cNvPr>
          <p:cNvSpPr/>
          <p:nvPr/>
        </p:nvSpPr>
        <p:spPr>
          <a:xfrm>
            <a:off x="2176500" y="6927417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47" name="Shape 2833">
            <a:extLst>
              <a:ext uri="{FF2B5EF4-FFF2-40B4-BE49-F238E27FC236}">
                <a16:creationId xmlns:a16="http://schemas.microsoft.com/office/drawing/2014/main" id="{1AFE7AF2-38D8-2F2F-F308-DC8C95C14FA1}"/>
              </a:ext>
            </a:extLst>
          </p:cNvPr>
          <p:cNvSpPr/>
          <p:nvPr/>
        </p:nvSpPr>
        <p:spPr>
          <a:xfrm>
            <a:off x="2919450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4" name="Shape 2834">
            <a:extLst>
              <a:ext uri="{FF2B5EF4-FFF2-40B4-BE49-F238E27FC236}">
                <a16:creationId xmlns:a16="http://schemas.microsoft.com/office/drawing/2014/main" id="{51EF704E-B8C1-3D83-BE73-919C08C26AE0}"/>
              </a:ext>
            </a:extLst>
          </p:cNvPr>
          <p:cNvSpPr/>
          <p:nvPr/>
        </p:nvSpPr>
        <p:spPr>
          <a:xfrm>
            <a:off x="3719550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5" name="Shape 2835">
            <a:extLst>
              <a:ext uri="{FF2B5EF4-FFF2-40B4-BE49-F238E27FC236}">
                <a16:creationId xmlns:a16="http://schemas.microsoft.com/office/drawing/2014/main" id="{A79BA5CD-2CCC-916B-0545-71361B49E359}"/>
              </a:ext>
            </a:extLst>
          </p:cNvPr>
          <p:cNvSpPr/>
          <p:nvPr/>
        </p:nvSpPr>
        <p:spPr>
          <a:xfrm>
            <a:off x="4519650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6" name="Shape 2836">
            <a:extLst>
              <a:ext uri="{FF2B5EF4-FFF2-40B4-BE49-F238E27FC236}">
                <a16:creationId xmlns:a16="http://schemas.microsoft.com/office/drawing/2014/main" id="{E329EDD5-2B99-79F3-9CD9-E05D4C15F914}"/>
              </a:ext>
            </a:extLst>
          </p:cNvPr>
          <p:cNvSpPr/>
          <p:nvPr/>
        </p:nvSpPr>
        <p:spPr>
          <a:xfrm>
            <a:off x="5319751" y="6984561"/>
            <a:ext cx="419100" cy="304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7" name="Shape 2837">
            <a:extLst>
              <a:ext uri="{FF2B5EF4-FFF2-40B4-BE49-F238E27FC236}">
                <a16:creationId xmlns:a16="http://schemas.microsoft.com/office/drawing/2014/main" id="{BBD0CEAC-7DA6-DBFC-8F53-6C8DD7C8B77B}"/>
              </a:ext>
            </a:extLst>
          </p:cNvPr>
          <p:cNvSpPr/>
          <p:nvPr/>
        </p:nvSpPr>
        <p:spPr>
          <a:xfrm>
            <a:off x="6119851" y="6975036"/>
            <a:ext cx="419100" cy="3238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8" name="Shape 2838">
            <a:extLst>
              <a:ext uri="{FF2B5EF4-FFF2-40B4-BE49-F238E27FC236}">
                <a16:creationId xmlns:a16="http://schemas.microsoft.com/office/drawing/2014/main" id="{A8DA4302-A966-4BF1-25E7-B0E3ADFD1280}"/>
              </a:ext>
            </a:extLst>
          </p:cNvPr>
          <p:cNvSpPr/>
          <p:nvPr/>
        </p:nvSpPr>
        <p:spPr>
          <a:xfrm>
            <a:off x="6919950" y="6965512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9" name="Shape 2839">
            <a:extLst>
              <a:ext uri="{FF2B5EF4-FFF2-40B4-BE49-F238E27FC236}">
                <a16:creationId xmlns:a16="http://schemas.microsoft.com/office/drawing/2014/main" id="{A86ADD4E-05BA-9CD1-4E31-7B90FCA9FB4E}"/>
              </a:ext>
            </a:extLst>
          </p:cNvPr>
          <p:cNvSpPr/>
          <p:nvPr/>
        </p:nvSpPr>
        <p:spPr>
          <a:xfrm>
            <a:off x="7720050" y="6946464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0" name="Shape 2840">
            <a:extLst>
              <a:ext uri="{FF2B5EF4-FFF2-40B4-BE49-F238E27FC236}">
                <a16:creationId xmlns:a16="http://schemas.microsoft.com/office/drawing/2014/main" id="{E68B8813-E84C-EF06-BADC-C8517F9B7C1A}"/>
              </a:ext>
            </a:extLst>
          </p:cNvPr>
          <p:cNvSpPr/>
          <p:nvPr/>
        </p:nvSpPr>
        <p:spPr>
          <a:xfrm>
            <a:off x="8520150" y="6946464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1" name="Shape 2841">
            <a:extLst>
              <a:ext uri="{FF2B5EF4-FFF2-40B4-BE49-F238E27FC236}">
                <a16:creationId xmlns:a16="http://schemas.microsoft.com/office/drawing/2014/main" id="{5936B47D-F1B8-26ED-F13C-F2659909C373}"/>
              </a:ext>
            </a:extLst>
          </p:cNvPr>
          <p:cNvSpPr/>
          <p:nvPr/>
        </p:nvSpPr>
        <p:spPr>
          <a:xfrm>
            <a:off x="714375" y="7765527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2" name="Shape 2842">
            <a:extLst>
              <a:ext uri="{FF2B5EF4-FFF2-40B4-BE49-F238E27FC236}">
                <a16:creationId xmlns:a16="http://schemas.microsoft.com/office/drawing/2014/main" id="{B8D6CFF1-75A5-00C1-827C-89E2D28B4ACF}"/>
              </a:ext>
            </a:extLst>
          </p:cNvPr>
          <p:cNvSpPr/>
          <p:nvPr/>
        </p:nvSpPr>
        <p:spPr>
          <a:xfrm>
            <a:off x="2119350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3" name="Shape 2843">
            <a:extLst>
              <a:ext uri="{FF2B5EF4-FFF2-40B4-BE49-F238E27FC236}">
                <a16:creationId xmlns:a16="http://schemas.microsoft.com/office/drawing/2014/main" id="{190D163F-F875-A788-06C9-9E8593752678}"/>
              </a:ext>
            </a:extLst>
          </p:cNvPr>
          <p:cNvSpPr/>
          <p:nvPr/>
        </p:nvSpPr>
        <p:spPr>
          <a:xfrm>
            <a:off x="2919450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4" name="Shape 2844">
            <a:extLst>
              <a:ext uri="{FF2B5EF4-FFF2-40B4-BE49-F238E27FC236}">
                <a16:creationId xmlns:a16="http://schemas.microsoft.com/office/drawing/2014/main" id="{18AA8A34-9556-A4B3-6FDD-FFBAE4EE358E}"/>
              </a:ext>
            </a:extLst>
          </p:cNvPr>
          <p:cNvSpPr/>
          <p:nvPr/>
        </p:nvSpPr>
        <p:spPr>
          <a:xfrm>
            <a:off x="3719550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5" name="Shape 2845">
            <a:extLst>
              <a:ext uri="{FF2B5EF4-FFF2-40B4-BE49-F238E27FC236}">
                <a16:creationId xmlns:a16="http://schemas.microsoft.com/office/drawing/2014/main" id="{143C5872-5ECD-D443-DFE4-8E588B8AD833}"/>
              </a:ext>
            </a:extLst>
          </p:cNvPr>
          <p:cNvSpPr/>
          <p:nvPr/>
        </p:nvSpPr>
        <p:spPr>
          <a:xfrm>
            <a:off x="4557750" y="7727432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6" name="Shape 2846">
            <a:extLst>
              <a:ext uri="{FF2B5EF4-FFF2-40B4-BE49-F238E27FC236}">
                <a16:creationId xmlns:a16="http://schemas.microsoft.com/office/drawing/2014/main" id="{5738F29A-845B-938F-CB9A-E5A79AC3C279}"/>
              </a:ext>
            </a:extLst>
          </p:cNvPr>
          <p:cNvSpPr/>
          <p:nvPr/>
        </p:nvSpPr>
        <p:spPr>
          <a:xfrm>
            <a:off x="5357849" y="7727432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7" name="Shape 2847">
            <a:extLst>
              <a:ext uri="{FF2B5EF4-FFF2-40B4-BE49-F238E27FC236}">
                <a16:creationId xmlns:a16="http://schemas.microsoft.com/office/drawing/2014/main" id="{93B6A957-C9D0-DDAE-C3CD-A79900EC697D}"/>
              </a:ext>
            </a:extLst>
          </p:cNvPr>
          <p:cNvSpPr/>
          <p:nvPr/>
        </p:nvSpPr>
        <p:spPr>
          <a:xfrm>
            <a:off x="6119851" y="7727432"/>
            <a:ext cx="419100" cy="419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8" name="Shape 2848">
            <a:extLst>
              <a:ext uri="{FF2B5EF4-FFF2-40B4-BE49-F238E27FC236}">
                <a16:creationId xmlns:a16="http://schemas.microsoft.com/office/drawing/2014/main" id="{54ED7C75-3CC6-C2EC-113F-80BCA39A979A}"/>
              </a:ext>
            </a:extLst>
          </p:cNvPr>
          <p:cNvSpPr/>
          <p:nvPr/>
        </p:nvSpPr>
        <p:spPr>
          <a:xfrm>
            <a:off x="6919950" y="7727432"/>
            <a:ext cx="419100" cy="419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69" name="Shape 2849">
            <a:extLst>
              <a:ext uri="{FF2B5EF4-FFF2-40B4-BE49-F238E27FC236}">
                <a16:creationId xmlns:a16="http://schemas.microsoft.com/office/drawing/2014/main" id="{799E03C6-EA35-423C-C2FF-B74811AFD230}"/>
              </a:ext>
            </a:extLst>
          </p:cNvPr>
          <p:cNvSpPr/>
          <p:nvPr/>
        </p:nvSpPr>
        <p:spPr>
          <a:xfrm>
            <a:off x="7720050" y="7756003"/>
            <a:ext cx="419100" cy="3622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0" name="Shape 2850">
            <a:extLst>
              <a:ext uri="{FF2B5EF4-FFF2-40B4-BE49-F238E27FC236}">
                <a16:creationId xmlns:a16="http://schemas.microsoft.com/office/drawing/2014/main" id="{79A167BB-2E03-591E-4DA9-2A9277E2F66D}"/>
              </a:ext>
            </a:extLst>
          </p:cNvPr>
          <p:cNvSpPr/>
          <p:nvPr/>
        </p:nvSpPr>
        <p:spPr>
          <a:xfrm>
            <a:off x="8520150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1" name="Shape 2851">
            <a:extLst>
              <a:ext uri="{FF2B5EF4-FFF2-40B4-BE49-F238E27FC236}">
                <a16:creationId xmlns:a16="http://schemas.microsoft.com/office/drawing/2014/main" id="{1A4988B6-47F3-72F6-7619-257458B36FB6}"/>
              </a:ext>
            </a:extLst>
          </p:cNvPr>
          <p:cNvSpPr/>
          <p:nvPr/>
        </p:nvSpPr>
        <p:spPr>
          <a:xfrm>
            <a:off x="714375" y="85274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2" name="Shape 2852">
            <a:extLst>
              <a:ext uri="{FF2B5EF4-FFF2-40B4-BE49-F238E27FC236}">
                <a16:creationId xmlns:a16="http://schemas.microsoft.com/office/drawing/2014/main" id="{AB145239-606C-B186-E434-38A1AAA3E956}"/>
              </a:ext>
            </a:extLst>
          </p:cNvPr>
          <p:cNvSpPr/>
          <p:nvPr/>
        </p:nvSpPr>
        <p:spPr>
          <a:xfrm>
            <a:off x="2138400" y="8527447"/>
            <a:ext cx="3810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3" name="Shape 2853">
            <a:extLst>
              <a:ext uri="{FF2B5EF4-FFF2-40B4-BE49-F238E27FC236}">
                <a16:creationId xmlns:a16="http://schemas.microsoft.com/office/drawing/2014/main" id="{5DA898E2-976E-58FE-3A8B-FEAF214941E6}"/>
              </a:ext>
            </a:extLst>
          </p:cNvPr>
          <p:cNvSpPr/>
          <p:nvPr/>
        </p:nvSpPr>
        <p:spPr>
          <a:xfrm>
            <a:off x="2957550" y="8527447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4" name="Shape 2854">
            <a:extLst>
              <a:ext uri="{FF2B5EF4-FFF2-40B4-BE49-F238E27FC236}">
                <a16:creationId xmlns:a16="http://schemas.microsoft.com/office/drawing/2014/main" id="{1B0F1ADF-1403-D79F-7C7C-C151DC9634D5}"/>
              </a:ext>
            </a:extLst>
          </p:cNvPr>
          <p:cNvSpPr/>
          <p:nvPr/>
        </p:nvSpPr>
        <p:spPr>
          <a:xfrm>
            <a:off x="3719549" y="8527446"/>
            <a:ext cx="419003" cy="418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5" name="Shape 2855">
            <a:extLst>
              <a:ext uri="{FF2B5EF4-FFF2-40B4-BE49-F238E27FC236}">
                <a16:creationId xmlns:a16="http://schemas.microsoft.com/office/drawing/2014/main" id="{935D85CA-C8CC-4733-8A56-E303EA1101E4}"/>
              </a:ext>
            </a:extLst>
          </p:cNvPr>
          <p:cNvSpPr/>
          <p:nvPr/>
        </p:nvSpPr>
        <p:spPr>
          <a:xfrm>
            <a:off x="4538699" y="8527446"/>
            <a:ext cx="380903" cy="418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6" name="Shape 2856">
            <a:extLst>
              <a:ext uri="{FF2B5EF4-FFF2-40B4-BE49-F238E27FC236}">
                <a16:creationId xmlns:a16="http://schemas.microsoft.com/office/drawing/2014/main" id="{C57628B6-CEB9-19C6-EBB6-9C3C692EBE56}"/>
              </a:ext>
            </a:extLst>
          </p:cNvPr>
          <p:cNvSpPr/>
          <p:nvPr/>
        </p:nvSpPr>
        <p:spPr>
          <a:xfrm>
            <a:off x="5319749" y="8527447"/>
            <a:ext cx="419305" cy="4190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7" name="Shape 2857">
            <a:extLst>
              <a:ext uri="{FF2B5EF4-FFF2-40B4-BE49-F238E27FC236}">
                <a16:creationId xmlns:a16="http://schemas.microsoft.com/office/drawing/2014/main" id="{B3BD1617-9A0A-4411-8F6F-45028F1E1D8A}"/>
              </a:ext>
            </a:extLst>
          </p:cNvPr>
          <p:cNvSpPr/>
          <p:nvPr/>
        </p:nvSpPr>
        <p:spPr>
          <a:xfrm>
            <a:off x="6119851" y="85274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8" name="Shape 2858">
            <a:extLst>
              <a:ext uri="{FF2B5EF4-FFF2-40B4-BE49-F238E27FC236}">
                <a16:creationId xmlns:a16="http://schemas.microsoft.com/office/drawing/2014/main" id="{65FD4913-8A03-B304-8168-2729B030628B}"/>
              </a:ext>
            </a:extLst>
          </p:cNvPr>
          <p:cNvSpPr/>
          <p:nvPr/>
        </p:nvSpPr>
        <p:spPr>
          <a:xfrm>
            <a:off x="6958049" y="8527447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79" name="Shape 2859">
            <a:extLst>
              <a:ext uri="{FF2B5EF4-FFF2-40B4-BE49-F238E27FC236}">
                <a16:creationId xmlns:a16="http://schemas.microsoft.com/office/drawing/2014/main" id="{4C84B33A-9B6A-96DF-E554-57C8EA24FED5}"/>
              </a:ext>
            </a:extLst>
          </p:cNvPr>
          <p:cNvSpPr/>
          <p:nvPr/>
        </p:nvSpPr>
        <p:spPr>
          <a:xfrm>
            <a:off x="7720050" y="85274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80" name="Shape 2860">
            <a:extLst>
              <a:ext uri="{FF2B5EF4-FFF2-40B4-BE49-F238E27FC236}">
                <a16:creationId xmlns:a16="http://schemas.microsoft.com/office/drawing/2014/main" id="{34C5E968-2080-721E-0E48-D4832915C5A5}"/>
              </a:ext>
            </a:extLst>
          </p:cNvPr>
          <p:cNvSpPr/>
          <p:nvPr/>
        </p:nvSpPr>
        <p:spPr>
          <a:xfrm>
            <a:off x="8520150" y="85274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81" name="Shape 2861">
            <a:extLst>
              <a:ext uri="{FF2B5EF4-FFF2-40B4-BE49-F238E27FC236}">
                <a16:creationId xmlns:a16="http://schemas.microsoft.com/office/drawing/2014/main" id="{1A27BA42-AAA2-B809-273D-B2C2D5042CAA}"/>
              </a:ext>
            </a:extLst>
          </p:cNvPr>
          <p:cNvSpPr/>
          <p:nvPr/>
        </p:nvSpPr>
        <p:spPr>
          <a:xfrm>
            <a:off x="9377401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82" name="Shape 2862">
            <a:extLst>
              <a:ext uri="{FF2B5EF4-FFF2-40B4-BE49-F238E27FC236}">
                <a16:creationId xmlns:a16="http://schemas.microsoft.com/office/drawing/2014/main" id="{9D4BA12F-3D3A-11D6-C2B9-E9E2C657B1AA}"/>
              </a:ext>
            </a:extLst>
          </p:cNvPr>
          <p:cNvSpPr/>
          <p:nvPr/>
        </p:nvSpPr>
        <p:spPr>
          <a:xfrm>
            <a:off x="10177500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83" name="Shape 2863">
            <a:extLst>
              <a:ext uri="{FF2B5EF4-FFF2-40B4-BE49-F238E27FC236}">
                <a16:creationId xmlns:a16="http://schemas.microsoft.com/office/drawing/2014/main" id="{2C178B01-5E19-CBCC-BB2F-81D255BD01AA}"/>
              </a:ext>
            </a:extLst>
          </p:cNvPr>
          <p:cNvSpPr/>
          <p:nvPr/>
        </p:nvSpPr>
        <p:spPr>
          <a:xfrm>
            <a:off x="10977600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84" name="Shape 2864">
            <a:extLst>
              <a:ext uri="{FF2B5EF4-FFF2-40B4-BE49-F238E27FC236}">
                <a16:creationId xmlns:a16="http://schemas.microsoft.com/office/drawing/2014/main" id="{E8C4304B-83F4-3076-9236-AAE8FDD3D9CF}"/>
              </a:ext>
            </a:extLst>
          </p:cNvPr>
          <p:cNvSpPr/>
          <p:nvPr/>
        </p:nvSpPr>
        <p:spPr>
          <a:xfrm>
            <a:off x="11777700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85" name="Shape 2865">
            <a:extLst>
              <a:ext uri="{FF2B5EF4-FFF2-40B4-BE49-F238E27FC236}">
                <a16:creationId xmlns:a16="http://schemas.microsoft.com/office/drawing/2014/main" id="{28C4D53E-7BD4-4AD4-73C4-3BE704B6C07E}"/>
              </a:ext>
            </a:extLst>
          </p:cNvPr>
          <p:cNvSpPr/>
          <p:nvPr/>
        </p:nvSpPr>
        <p:spPr>
          <a:xfrm>
            <a:off x="12577800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86" name="Shape 2866">
            <a:extLst>
              <a:ext uri="{FF2B5EF4-FFF2-40B4-BE49-F238E27FC236}">
                <a16:creationId xmlns:a16="http://schemas.microsoft.com/office/drawing/2014/main" id="{3E1EAD67-E9E9-CA6C-764F-11DFDD7DF13D}"/>
              </a:ext>
            </a:extLst>
          </p:cNvPr>
          <p:cNvSpPr/>
          <p:nvPr/>
        </p:nvSpPr>
        <p:spPr>
          <a:xfrm>
            <a:off x="13377901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90" name="Shape 2870">
            <a:extLst>
              <a:ext uri="{FF2B5EF4-FFF2-40B4-BE49-F238E27FC236}">
                <a16:creationId xmlns:a16="http://schemas.microsoft.com/office/drawing/2014/main" id="{CD41373A-E0CB-597F-2D8B-6CCE2A0AB8CF}"/>
              </a:ext>
            </a:extLst>
          </p:cNvPr>
          <p:cNvSpPr/>
          <p:nvPr/>
        </p:nvSpPr>
        <p:spPr>
          <a:xfrm>
            <a:off x="17154525" y="692741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91" name="Shape 2871">
            <a:extLst>
              <a:ext uri="{FF2B5EF4-FFF2-40B4-BE49-F238E27FC236}">
                <a16:creationId xmlns:a16="http://schemas.microsoft.com/office/drawing/2014/main" id="{26CEE1FB-7788-0C17-9482-4542D8895B1C}"/>
              </a:ext>
            </a:extLst>
          </p:cNvPr>
          <p:cNvSpPr/>
          <p:nvPr/>
        </p:nvSpPr>
        <p:spPr>
          <a:xfrm>
            <a:off x="9377401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92" name="Shape 2872">
            <a:extLst>
              <a:ext uri="{FF2B5EF4-FFF2-40B4-BE49-F238E27FC236}">
                <a16:creationId xmlns:a16="http://schemas.microsoft.com/office/drawing/2014/main" id="{E5EE3323-94AD-4377-5D83-D4FEB383A89A}"/>
              </a:ext>
            </a:extLst>
          </p:cNvPr>
          <p:cNvSpPr/>
          <p:nvPr/>
        </p:nvSpPr>
        <p:spPr>
          <a:xfrm>
            <a:off x="10177500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93" name="Shape 2873">
            <a:extLst>
              <a:ext uri="{FF2B5EF4-FFF2-40B4-BE49-F238E27FC236}">
                <a16:creationId xmlns:a16="http://schemas.microsoft.com/office/drawing/2014/main" id="{4217BD28-0F8B-7358-BC7E-D5CE54EBB46C}"/>
              </a:ext>
            </a:extLst>
          </p:cNvPr>
          <p:cNvSpPr/>
          <p:nvPr/>
        </p:nvSpPr>
        <p:spPr>
          <a:xfrm>
            <a:off x="10977600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94" name="Shape 2874">
            <a:extLst>
              <a:ext uri="{FF2B5EF4-FFF2-40B4-BE49-F238E27FC236}">
                <a16:creationId xmlns:a16="http://schemas.microsoft.com/office/drawing/2014/main" id="{D2C0A6CE-012D-B16A-8028-11B22C4BA6AB}"/>
              </a:ext>
            </a:extLst>
          </p:cNvPr>
          <p:cNvSpPr/>
          <p:nvPr/>
        </p:nvSpPr>
        <p:spPr>
          <a:xfrm>
            <a:off x="11777700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95" name="Shape 2875">
            <a:extLst>
              <a:ext uri="{FF2B5EF4-FFF2-40B4-BE49-F238E27FC236}">
                <a16:creationId xmlns:a16="http://schemas.microsoft.com/office/drawing/2014/main" id="{775E5DE4-F4D8-2D3B-EA61-F677DD35414C}"/>
              </a:ext>
            </a:extLst>
          </p:cNvPr>
          <p:cNvSpPr/>
          <p:nvPr/>
        </p:nvSpPr>
        <p:spPr>
          <a:xfrm>
            <a:off x="12577800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96" name="Shape 2876">
            <a:extLst>
              <a:ext uri="{FF2B5EF4-FFF2-40B4-BE49-F238E27FC236}">
                <a16:creationId xmlns:a16="http://schemas.microsoft.com/office/drawing/2014/main" id="{0C762E48-D180-577B-8992-611A12F86B15}"/>
              </a:ext>
            </a:extLst>
          </p:cNvPr>
          <p:cNvSpPr/>
          <p:nvPr/>
        </p:nvSpPr>
        <p:spPr>
          <a:xfrm>
            <a:off x="13377901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00" name="Shape 2880">
            <a:extLst>
              <a:ext uri="{FF2B5EF4-FFF2-40B4-BE49-F238E27FC236}">
                <a16:creationId xmlns:a16="http://schemas.microsoft.com/office/drawing/2014/main" id="{69F003E2-69E0-A221-F975-9751037660EC}"/>
              </a:ext>
            </a:extLst>
          </p:cNvPr>
          <p:cNvSpPr/>
          <p:nvPr/>
        </p:nvSpPr>
        <p:spPr>
          <a:xfrm>
            <a:off x="17154525" y="77274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01" name="Shape 2881">
            <a:extLst>
              <a:ext uri="{FF2B5EF4-FFF2-40B4-BE49-F238E27FC236}">
                <a16:creationId xmlns:a16="http://schemas.microsoft.com/office/drawing/2014/main" id="{03814D41-75CA-547A-685A-0A09CE2CC564}"/>
              </a:ext>
            </a:extLst>
          </p:cNvPr>
          <p:cNvSpPr/>
          <p:nvPr/>
        </p:nvSpPr>
        <p:spPr>
          <a:xfrm>
            <a:off x="9377401" y="85274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02" name="Shape 2882">
            <a:extLst>
              <a:ext uri="{FF2B5EF4-FFF2-40B4-BE49-F238E27FC236}">
                <a16:creationId xmlns:a16="http://schemas.microsoft.com/office/drawing/2014/main" id="{C623388F-26F8-FBE1-3272-EB16147B47C5}"/>
              </a:ext>
            </a:extLst>
          </p:cNvPr>
          <p:cNvSpPr/>
          <p:nvPr/>
        </p:nvSpPr>
        <p:spPr>
          <a:xfrm>
            <a:off x="10177500" y="85274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03" name="Shape 2883">
            <a:extLst>
              <a:ext uri="{FF2B5EF4-FFF2-40B4-BE49-F238E27FC236}">
                <a16:creationId xmlns:a16="http://schemas.microsoft.com/office/drawing/2014/main" id="{CAED80CA-2994-CCCF-F750-AD0222E10E5D}"/>
              </a:ext>
            </a:extLst>
          </p:cNvPr>
          <p:cNvSpPr/>
          <p:nvPr/>
        </p:nvSpPr>
        <p:spPr>
          <a:xfrm>
            <a:off x="10977600" y="85274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04" name="Shape 2884">
            <a:extLst>
              <a:ext uri="{FF2B5EF4-FFF2-40B4-BE49-F238E27FC236}">
                <a16:creationId xmlns:a16="http://schemas.microsoft.com/office/drawing/2014/main" id="{49FE4C23-A726-352E-2EE0-B26B3515FC3E}"/>
              </a:ext>
            </a:extLst>
          </p:cNvPr>
          <p:cNvSpPr/>
          <p:nvPr/>
        </p:nvSpPr>
        <p:spPr>
          <a:xfrm>
            <a:off x="11777700" y="85274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05" name="Shape 2885">
            <a:extLst>
              <a:ext uri="{FF2B5EF4-FFF2-40B4-BE49-F238E27FC236}">
                <a16:creationId xmlns:a16="http://schemas.microsoft.com/office/drawing/2014/main" id="{132F45DE-EE64-2796-00F2-D6A5BD1EC5CC}"/>
              </a:ext>
            </a:extLst>
          </p:cNvPr>
          <p:cNvSpPr/>
          <p:nvPr/>
        </p:nvSpPr>
        <p:spPr>
          <a:xfrm>
            <a:off x="12615900" y="8527447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06" name="Shape 2886">
            <a:extLst>
              <a:ext uri="{FF2B5EF4-FFF2-40B4-BE49-F238E27FC236}">
                <a16:creationId xmlns:a16="http://schemas.microsoft.com/office/drawing/2014/main" id="{7DAB7449-4F1C-3EFB-A8DF-A06A56EA18CA}"/>
              </a:ext>
            </a:extLst>
          </p:cNvPr>
          <p:cNvSpPr/>
          <p:nvPr/>
        </p:nvSpPr>
        <p:spPr>
          <a:xfrm>
            <a:off x="13415999" y="8527447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248EA04-5EE2-2916-E605-8D3CFBAB3EED}"/>
              </a:ext>
            </a:extLst>
          </p:cNvPr>
          <p:cNvGrpSpPr/>
          <p:nvPr/>
        </p:nvGrpSpPr>
        <p:grpSpPr>
          <a:xfrm>
            <a:off x="14178001" y="1929802"/>
            <a:ext cx="419100" cy="7016701"/>
            <a:chOff x="14178001" y="1929802"/>
            <a:chExt cx="419100" cy="7016701"/>
          </a:xfrm>
        </p:grpSpPr>
        <p:sp>
          <p:nvSpPr>
            <p:cNvPr id="173" name="Shape 2591">
              <a:extLst>
                <a:ext uri="{FF2B5EF4-FFF2-40B4-BE49-F238E27FC236}">
                  <a16:creationId xmlns:a16="http://schemas.microsoft.com/office/drawing/2014/main" id="{CE787FA7-C0F8-7504-7A34-D23FAA531059}"/>
                </a:ext>
              </a:extLst>
            </p:cNvPr>
            <p:cNvSpPr/>
            <p:nvPr/>
          </p:nvSpPr>
          <p:spPr>
            <a:xfrm>
              <a:off x="14178001" y="1929802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8631" y="14727"/>
                    <a:pt x="6873" y="12969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moveTo>
                    <a:pt x="10800" y="5891"/>
                  </a:moveTo>
                  <a:cubicBezTo>
                    <a:pt x="8088" y="5891"/>
                    <a:pt x="5891" y="8089"/>
                    <a:pt x="5891" y="10800"/>
                  </a:cubicBezTo>
                  <a:cubicBezTo>
                    <a:pt x="5891" y="13512"/>
                    <a:pt x="8088" y="15709"/>
                    <a:pt x="10800" y="15709"/>
                  </a:cubicBezTo>
                  <a:cubicBezTo>
                    <a:pt x="13512" y="15709"/>
                    <a:pt x="15709" y="13512"/>
                    <a:pt x="15709" y="10800"/>
                  </a:cubicBezTo>
                  <a:cubicBezTo>
                    <a:pt x="15709" y="8089"/>
                    <a:pt x="13512" y="5891"/>
                    <a:pt x="10800" y="5891"/>
                  </a:cubicBezTo>
                  <a:moveTo>
                    <a:pt x="20618" y="12013"/>
                  </a:moveTo>
                  <a:cubicBezTo>
                    <a:pt x="20614" y="12014"/>
                    <a:pt x="20611" y="12016"/>
                    <a:pt x="20607" y="12016"/>
                  </a:cubicBezTo>
                  <a:lnTo>
                    <a:pt x="19602" y="12268"/>
                  </a:lnTo>
                  <a:cubicBezTo>
                    <a:pt x="19256" y="12354"/>
                    <a:pt x="18984" y="12622"/>
                    <a:pt x="18892" y="12966"/>
                  </a:cubicBezTo>
                  <a:cubicBezTo>
                    <a:pt x="18703" y="13672"/>
                    <a:pt x="18421" y="14351"/>
                    <a:pt x="18053" y="14986"/>
                  </a:cubicBezTo>
                  <a:cubicBezTo>
                    <a:pt x="17873" y="15295"/>
                    <a:pt x="17876" y="15677"/>
                    <a:pt x="18060" y="15984"/>
                  </a:cubicBezTo>
                  <a:lnTo>
                    <a:pt x="18601" y="16885"/>
                  </a:lnTo>
                  <a:lnTo>
                    <a:pt x="16886" y="18600"/>
                  </a:lnTo>
                  <a:cubicBezTo>
                    <a:pt x="16882" y="18599"/>
                    <a:pt x="16878" y="18597"/>
                    <a:pt x="16875" y="18595"/>
                  </a:cubicBezTo>
                  <a:lnTo>
                    <a:pt x="15978" y="18057"/>
                  </a:lnTo>
                  <a:cubicBezTo>
                    <a:pt x="15822" y="17964"/>
                    <a:pt x="15648" y="17917"/>
                    <a:pt x="15473" y="17917"/>
                  </a:cubicBezTo>
                  <a:cubicBezTo>
                    <a:pt x="15304" y="17917"/>
                    <a:pt x="15134" y="17961"/>
                    <a:pt x="14982" y="18049"/>
                  </a:cubicBezTo>
                  <a:cubicBezTo>
                    <a:pt x="14348" y="18415"/>
                    <a:pt x="13671" y="18696"/>
                    <a:pt x="12968" y="18884"/>
                  </a:cubicBezTo>
                  <a:cubicBezTo>
                    <a:pt x="12624" y="18976"/>
                    <a:pt x="12356" y="19248"/>
                    <a:pt x="12269" y="19594"/>
                  </a:cubicBezTo>
                  <a:lnTo>
                    <a:pt x="12016" y="20607"/>
                  </a:lnTo>
                  <a:cubicBezTo>
                    <a:pt x="12015" y="20611"/>
                    <a:pt x="12014" y="20614"/>
                    <a:pt x="12012" y="20619"/>
                  </a:cubicBezTo>
                  <a:lnTo>
                    <a:pt x="9587" y="20619"/>
                  </a:lnTo>
                  <a:lnTo>
                    <a:pt x="9331" y="19594"/>
                  </a:lnTo>
                  <a:cubicBezTo>
                    <a:pt x="9244" y="19248"/>
                    <a:pt x="8976" y="18976"/>
                    <a:pt x="8632" y="18884"/>
                  </a:cubicBezTo>
                  <a:cubicBezTo>
                    <a:pt x="7929" y="18696"/>
                    <a:pt x="7251" y="18415"/>
                    <a:pt x="6617" y="18049"/>
                  </a:cubicBezTo>
                  <a:cubicBezTo>
                    <a:pt x="6465" y="17961"/>
                    <a:pt x="6296" y="17917"/>
                    <a:pt x="6127" y="17917"/>
                  </a:cubicBezTo>
                  <a:cubicBezTo>
                    <a:pt x="5951" y="17917"/>
                    <a:pt x="5777" y="17964"/>
                    <a:pt x="5621" y="18057"/>
                  </a:cubicBezTo>
                  <a:lnTo>
                    <a:pt x="4725" y="18595"/>
                  </a:lnTo>
                  <a:cubicBezTo>
                    <a:pt x="4722" y="18597"/>
                    <a:pt x="4718" y="18599"/>
                    <a:pt x="4714" y="18600"/>
                  </a:cubicBezTo>
                  <a:lnTo>
                    <a:pt x="3000" y="16885"/>
                  </a:lnTo>
                  <a:lnTo>
                    <a:pt x="3540" y="15984"/>
                  </a:lnTo>
                  <a:cubicBezTo>
                    <a:pt x="3724" y="15677"/>
                    <a:pt x="3727" y="15295"/>
                    <a:pt x="3548" y="14986"/>
                  </a:cubicBezTo>
                  <a:cubicBezTo>
                    <a:pt x="3179" y="14351"/>
                    <a:pt x="2897" y="13672"/>
                    <a:pt x="2708" y="12966"/>
                  </a:cubicBezTo>
                  <a:cubicBezTo>
                    <a:pt x="2616" y="12622"/>
                    <a:pt x="2343" y="12354"/>
                    <a:pt x="1998" y="12268"/>
                  </a:cubicBezTo>
                  <a:lnTo>
                    <a:pt x="993" y="12016"/>
                  </a:lnTo>
                  <a:cubicBezTo>
                    <a:pt x="989" y="12016"/>
                    <a:pt x="986" y="12014"/>
                    <a:pt x="982" y="12013"/>
                  </a:cubicBezTo>
                  <a:lnTo>
                    <a:pt x="982" y="9587"/>
                  </a:lnTo>
                  <a:lnTo>
                    <a:pt x="1998" y="9333"/>
                  </a:lnTo>
                  <a:cubicBezTo>
                    <a:pt x="2343" y="9246"/>
                    <a:pt x="2616" y="8979"/>
                    <a:pt x="2708" y="8634"/>
                  </a:cubicBezTo>
                  <a:cubicBezTo>
                    <a:pt x="2897" y="7928"/>
                    <a:pt x="3179" y="7249"/>
                    <a:pt x="3548" y="6615"/>
                  </a:cubicBezTo>
                  <a:cubicBezTo>
                    <a:pt x="3727" y="6305"/>
                    <a:pt x="3724" y="5923"/>
                    <a:pt x="3540" y="5617"/>
                  </a:cubicBezTo>
                  <a:lnTo>
                    <a:pt x="3005" y="4725"/>
                  </a:lnTo>
                  <a:cubicBezTo>
                    <a:pt x="3004" y="4722"/>
                    <a:pt x="3002" y="4718"/>
                    <a:pt x="3000" y="4715"/>
                  </a:cubicBezTo>
                  <a:lnTo>
                    <a:pt x="4715" y="3000"/>
                  </a:lnTo>
                  <a:lnTo>
                    <a:pt x="5621" y="3544"/>
                  </a:lnTo>
                  <a:cubicBezTo>
                    <a:pt x="5777" y="3636"/>
                    <a:pt x="5951" y="3683"/>
                    <a:pt x="6127" y="3683"/>
                  </a:cubicBezTo>
                  <a:cubicBezTo>
                    <a:pt x="6296" y="3683"/>
                    <a:pt x="6465" y="3639"/>
                    <a:pt x="6618" y="3551"/>
                  </a:cubicBezTo>
                  <a:cubicBezTo>
                    <a:pt x="7251" y="3185"/>
                    <a:pt x="7929" y="2904"/>
                    <a:pt x="8632" y="2717"/>
                  </a:cubicBezTo>
                  <a:cubicBezTo>
                    <a:pt x="8976" y="2624"/>
                    <a:pt x="9244" y="2353"/>
                    <a:pt x="9331" y="2007"/>
                  </a:cubicBezTo>
                  <a:lnTo>
                    <a:pt x="9587" y="982"/>
                  </a:lnTo>
                  <a:lnTo>
                    <a:pt x="12012" y="982"/>
                  </a:lnTo>
                  <a:cubicBezTo>
                    <a:pt x="12014" y="986"/>
                    <a:pt x="12015" y="989"/>
                    <a:pt x="12016" y="993"/>
                  </a:cubicBezTo>
                  <a:lnTo>
                    <a:pt x="12269" y="2007"/>
                  </a:lnTo>
                  <a:cubicBezTo>
                    <a:pt x="12356" y="2353"/>
                    <a:pt x="12624" y="2624"/>
                    <a:pt x="12968" y="2717"/>
                  </a:cubicBezTo>
                  <a:cubicBezTo>
                    <a:pt x="13671" y="2904"/>
                    <a:pt x="14348" y="3185"/>
                    <a:pt x="14982" y="3551"/>
                  </a:cubicBezTo>
                  <a:cubicBezTo>
                    <a:pt x="15134" y="3639"/>
                    <a:pt x="15304" y="3683"/>
                    <a:pt x="15473" y="3683"/>
                  </a:cubicBezTo>
                  <a:cubicBezTo>
                    <a:pt x="15648" y="3683"/>
                    <a:pt x="15822" y="3636"/>
                    <a:pt x="15978" y="3544"/>
                  </a:cubicBezTo>
                  <a:lnTo>
                    <a:pt x="16884" y="3000"/>
                  </a:lnTo>
                  <a:lnTo>
                    <a:pt x="18600" y="4715"/>
                  </a:lnTo>
                  <a:cubicBezTo>
                    <a:pt x="18598" y="4718"/>
                    <a:pt x="18597" y="4722"/>
                    <a:pt x="18595" y="4726"/>
                  </a:cubicBezTo>
                  <a:lnTo>
                    <a:pt x="18060" y="5616"/>
                  </a:lnTo>
                  <a:cubicBezTo>
                    <a:pt x="17876" y="5923"/>
                    <a:pt x="17873" y="6305"/>
                    <a:pt x="18053" y="6615"/>
                  </a:cubicBezTo>
                  <a:cubicBezTo>
                    <a:pt x="18421" y="7249"/>
                    <a:pt x="18703" y="7928"/>
                    <a:pt x="18892" y="8634"/>
                  </a:cubicBezTo>
                  <a:cubicBezTo>
                    <a:pt x="18984" y="8979"/>
                    <a:pt x="19256" y="9246"/>
                    <a:pt x="19602" y="9333"/>
                  </a:cubicBezTo>
                  <a:lnTo>
                    <a:pt x="20618" y="9587"/>
                  </a:lnTo>
                  <a:cubicBezTo>
                    <a:pt x="20618" y="9587"/>
                    <a:pt x="20618" y="12013"/>
                    <a:pt x="20618" y="12013"/>
                  </a:cubicBezTo>
                  <a:close/>
                  <a:moveTo>
                    <a:pt x="20880" y="8641"/>
                  </a:moveTo>
                  <a:lnTo>
                    <a:pt x="19841" y="8380"/>
                  </a:lnTo>
                  <a:cubicBezTo>
                    <a:pt x="19626" y="7580"/>
                    <a:pt x="19308" y="6822"/>
                    <a:pt x="18902" y="6122"/>
                  </a:cubicBezTo>
                  <a:lnTo>
                    <a:pt x="19455" y="5200"/>
                  </a:lnTo>
                  <a:cubicBezTo>
                    <a:pt x="19625" y="4871"/>
                    <a:pt x="19736" y="4463"/>
                    <a:pt x="19455" y="4182"/>
                  </a:cubicBezTo>
                  <a:lnTo>
                    <a:pt x="17419" y="2145"/>
                  </a:lnTo>
                  <a:cubicBezTo>
                    <a:pt x="17292" y="2018"/>
                    <a:pt x="17136" y="1969"/>
                    <a:pt x="16975" y="1969"/>
                  </a:cubicBezTo>
                  <a:cubicBezTo>
                    <a:pt x="16778" y="1969"/>
                    <a:pt x="16572" y="2043"/>
                    <a:pt x="16400" y="2145"/>
                  </a:cubicBezTo>
                  <a:lnTo>
                    <a:pt x="15473" y="2702"/>
                  </a:lnTo>
                  <a:cubicBezTo>
                    <a:pt x="14775" y="2298"/>
                    <a:pt x="14020" y="1982"/>
                    <a:pt x="13222" y="1768"/>
                  </a:cubicBezTo>
                  <a:lnTo>
                    <a:pt x="12960" y="720"/>
                  </a:lnTo>
                  <a:cubicBezTo>
                    <a:pt x="12848" y="367"/>
                    <a:pt x="12638" y="0"/>
                    <a:pt x="12240" y="0"/>
                  </a:cubicBezTo>
                  <a:lnTo>
                    <a:pt x="9360" y="0"/>
                  </a:lnTo>
                  <a:cubicBezTo>
                    <a:pt x="8962" y="0"/>
                    <a:pt x="8730" y="367"/>
                    <a:pt x="8640" y="720"/>
                  </a:cubicBezTo>
                  <a:lnTo>
                    <a:pt x="8378" y="1768"/>
                  </a:lnTo>
                  <a:cubicBezTo>
                    <a:pt x="7580" y="1982"/>
                    <a:pt x="6825" y="2298"/>
                    <a:pt x="6127" y="2702"/>
                  </a:cubicBezTo>
                  <a:lnTo>
                    <a:pt x="5200" y="2145"/>
                  </a:lnTo>
                  <a:cubicBezTo>
                    <a:pt x="5028" y="2043"/>
                    <a:pt x="4822" y="1969"/>
                    <a:pt x="4625" y="1969"/>
                  </a:cubicBezTo>
                  <a:cubicBezTo>
                    <a:pt x="4464" y="1969"/>
                    <a:pt x="4308" y="2018"/>
                    <a:pt x="4181" y="2145"/>
                  </a:cubicBezTo>
                  <a:lnTo>
                    <a:pt x="2145" y="4182"/>
                  </a:lnTo>
                  <a:cubicBezTo>
                    <a:pt x="1864" y="4463"/>
                    <a:pt x="1975" y="4871"/>
                    <a:pt x="2145" y="5200"/>
                  </a:cubicBezTo>
                  <a:lnTo>
                    <a:pt x="2698" y="6122"/>
                  </a:lnTo>
                  <a:cubicBezTo>
                    <a:pt x="2292" y="6822"/>
                    <a:pt x="1973" y="7580"/>
                    <a:pt x="1759" y="8380"/>
                  </a:cubicBezTo>
                  <a:lnTo>
                    <a:pt x="720" y="8641"/>
                  </a:lnTo>
                  <a:cubicBezTo>
                    <a:pt x="367" y="8730"/>
                    <a:pt x="0" y="8963"/>
                    <a:pt x="0" y="9360"/>
                  </a:cubicBezTo>
                  <a:lnTo>
                    <a:pt x="0" y="12240"/>
                  </a:lnTo>
                  <a:cubicBezTo>
                    <a:pt x="0" y="12638"/>
                    <a:pt x="367" y="12848"/>
                    <a:pt x="720" y="12960"/>
                  </a:cubicBezTo>
                  <a:lnTo>
                    <a:pt x="1759" y="13220"/>
                  </a:lnTo>
                  <a:cubicBezTo>
                    <a:pt x="1973" y="14021"/>
                    <a:pt x="2292" y="14778"/>
                    <a:pt x="2698" y="15478"/>
                  </a:cubicBezTo>
                  <a:lnTo>
                    <a:pt x="2145" y="16400"/>
                  </a:lnTo>
                  <a:cubicBezTo>
                    <a:pt x="1959" y="16714"/>
                    <a:pt x="1864" y="17137"/>
                    <a:pt x="2145" y="17419"/>
                  </a:cubicBezTo>
                  <a:lnTo>
                    <a:pt x="4181" y="19455"/>
                  </a:lnTo>
                  <a:cubicBezTo>
                    <a:pt x="4305" y="19579"/>
                    <a:pt x="4454" y="19627"/>
                    <a:pt x="4610" y="19627"/>
                  </a:cubicBezTo>
                  <a:cubicBezTo>
                    <a:pt x="4807" y="19627"/>
                    <a:pt x="5016" y="19550"/>
                    <a:pt x="5200" y="19455"/>
                  </a:cubicBezTo>
                  <a:lnTo>
                    <a:pt x="6127" y="18899"/>
                  </a:lnTo>
                  <a:cubicBezTo>
                    <a:pt x="6825" y="19302"/>
                    <a:pt x="7580" y="19619"/>
                    <a:pt x="8378" y="19832"/>
                  </a:cubicBezTo>
                  <a:lnTo>
                    <a:pt x="8640" y="20880"/>
                  </a:lnTo>
                  <a:cubicBezTo>
                    <a:pt x="8730" y="21233"/>
                    <a:pt x="8962" y="21600"/>
                    <a:pt x="9360" y="21600"/>
                  </a:cubicBezTo>
                  <a:lnTo>
                    <a:pt x="12240" y="21600"/>
                  </a:lnTo>
                  <a:cubicBezTo>
                    <a:pt x="12638" y="21600"/>
                    <a:pt x="12848" y="21233"/>
                    <a:pt x="12960" y="20880"/>
                  </a:cubicBezTo>
                  <a:lnTo>
                    <a:pt x="13222" y="19832"/>
                  </a:lnTo>
                  <a:cubicBezTo>
                    <a:pt x="14020" y="19619"/>
                    <a:pt x="14775" y="19302"/>
                    <a:pt x="15473" y="18899"/>
                  </a:cubicBezTo>
                  <a:lnTo>
                    <a:pt x="16400" y="19455"/>
                  </a:lnTo>
                  <a:cubicBezTo>
                    <a:pt x="16584" y="19550"/>
                    <a:pt x="16793" y="19627"/>
                    <a:pt x="16990" y="19627"/>
                  </a:cubicBezTo>
                  <a:cubicBezTo>
                    <a:pt x="17146" y="19627"/>
                    <a:pt x="17294" y="19579"/>
                    <a:pt x="17419" y="19455"/>
                  </a:cubicBezTo>
                  <a:lnTo>
                    <a:pt x="19455" y="17419"/>
                  </a:lnTo>
                  <a:cubicBezTo>
                    <a:pt x="19736" y="17137"/>
                    <a:pt x="19641" y="16714"/>
                    <a:pt x="19455" y="16400"/>
                  </a:cubicBezTo>
                  <a:lnTo>
                    <a:pt x="18902" y="15478"/>
                  </a:lnTo>
                  <a:cubicBezTo>
                    <a:pt x="19308" y="14778"/>
                    <a:pt x="19626" y="14021"/>
                    <a:pt x="19841" y="13220"/>
                  </a:cubicBezTo>
                  <a:lnTo>
                    <a:pt x="20880" y="12960"/>
                  </a:lnTo>
                  <a:cubicBezTo>
                    <a:pt x="21233" y="12848"/>
                    <a:pt x="21600" y="12638"/>
                    <a:pt x="21600" y="12240"/>
                  </a:cubicBezTo>
                  <a:lnTo>
                    <a:pt x="21600" y="9360"/>
                  </a:lnTo>
                  <a:cubicBezTo>
                    <a:pt x="21600" y="8963"/>
                    <a:pt x="21233" y="8730"/>
                    <a:pt x="20880" y="8641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183" name="Shape 2601">
              <a:extLst>
                <a:ext uri="{FF2B5EF4-FFF2-40B4-BE49-F238E27FC236}">
                  <a16:creationId xmlns:a16="http://schemas.microsoft.com/office/drawing/2014/main" id="{8D58890C-29D7-88CC-61A6-51509326587C}"/>
                </a:ext>
              </a:extLst>
            </p:cNvPr>
            <p:cNvSpPr/>
            <p:nvPr/>
          </p:nvSpPr>
          <p:spPr>
            <a:xfrm>
              <a:off x="14178001" y="2729817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6200" y="10309"/>
                  </a:moveTo>
                  <a:lnTo>
                    <a:pt x="5400" y="10309"/>
                  </a:lnTo>
                  <a:cubicBezTo>
                    <a:pt x="5129" y="10309"/>
                    <a:pt x="4909" y="10529"/>
                    <a:pt x="4909" y="10800"/>
                  </a:cubicBezTo>
                  <a:cubicBezTo>
                    <a:pt x="4909" y="11072"/>
                    <a:pt x="5129" y="11292"/>
                    <a:pt x="5400" y="11292"/>
                  </a:cubicBezTo>
                  <a:lnTo>
                    <a:pt x="16200" y="11292"/>
                  </a:lnTo>
                  <a:cubicBezTo>
                    <a:pt x="16471" y="11292"/>
                    <a:pt x="16691" y="11072"/>
                    <a:pt x="16691" y="10800"/>
                  </a:cubicBezTo>
                  <a:cubicBezTo>
                    <a:pt x="16691" y="10529"/>
                    <a:pt x="16471" y="10309"/>
                    <a:pt x="16200" y="10309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21" name="Shape 2611">
              <a:extLst>
                <a:ext uri="{FF2B5EF4-FFF2-40B4-BE49-F238E27FC236}">
                  <a16:creationId xmlns:a16="http://schemas.microsoft.com/office/drawing/2014/main" id="{0C7E69CF-0996-0567-ECD3-10F2B6FEE6CD}"/>
                </a:ext>
              </a:extLst>
            </p:cNvPr>
            <p:cNvSpPr/>
            <p:nvPr/>
          </p:nvSpPr>
          <p:spPr>
            <a:xfrm>
              <a:off x="14178001" y="3548880"/>
              <a:ext cx="419100" cy="380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161"/>
                  </a:moveTo>
                  <a:lnTo>
                    <a:pt x="13745" y="2161"/>
                  </a:lnTo>
                  <a:cubicBezTo>
                    <a:pt x="11782" y="2160"/>
                    <a:pt x="11782" y="0"/>
                    <a:pt x="9818" y="0"/>
                  </a:cubicBezTo>
                  <a:lnTo>
                    <a:pt x="5891" y="0"/>
                  </a:lnTo>
                  <a:cubicBezTo>
                    <a:pt x="4806" y="0"/>
                    <a:pt x="3927" y="967"/>
                    <a:pt x="3927" y="2161"/>
                  </a:cubicBezTo>
                  <a:lnTo>
                    <a:pt x="3927" y="2700"/>
                  </a:lnTo>
                  <a:cubicBezTo>
                    <a:pt x="3927" y="2999"/>
                    <a:pt x="4147" y="3240"/>
                    <a:pt x="4418" y="3240"/>
                  </a:cubicBezTo>
                  <a:cubicBezTo>
                    <a:pt x="4690" y="3240"/>
                    <a:pt x="4909" y="2999"/>
                    <a:pt x="4909" y="2700"/>
                  </a:cubicBezTo>
                  <a:lnTo>
                    <a:pt x="4909" y="2161"/>
                  </a:lnTo>
                  <a:cubicBezTo>
                    <a:pt x="4909" y="1564"/>
                    <a:pt x="5348" y="1080"/>
                    <a:pt x="5891" y="1080"/>
                  </a:cubicBezTo>
                  <a:lnTo>
                    <a:pt x="9818" y="1080"/>
                  </a:lnTo>
                  <a:cubicBezTo>
                    <a:pt x="11291" y="1080"/>
                    <a:pt x="11291" y="3239"/>
                    <a:pt x="13744" y="3240"/>
                  </a:cubicBezTo>
                  <a:lnTo>
                    <a:pt x="19636" y="3240"/>
                  </a:lnTo>
                  <a:cubicBezTo>
                    <a:pt x="20178" y="3240"/>
                    <a:pt x="20618" y="3724"/>
                    <a:pt x="20618" y="4321"/>
                  </a:cubicBezTo>
                  <a:lnTo>
                    <a:pt x="20618" y="15120"/>
                  </a:lnTo>
                  <a:cubicBezTo>
                    <a:pt x="20618" y="15717"/>
                    <a:pt x="20178" y="16200"/>
                    <a:pt x="19636" y="16200"/>
                  </a:cubicBezTo>
                  <a:lnTo>
                    <a:pt x="19145" y="16200"/>
                  </a:lnTo>
                  <a:cubicBezTo>
                    <a:pt x="18874" y="16200"/>
                    <a:pt x="18655" y="16442"/>
                    <a:pt x="18655" y="16740"/>
                  </a:cubicBezTo>
                  <a:cubicBezTo>
                    <a:pt x="18655" y="17039"/>
                    <a:pt x="18874" y="17280"/>
                    <a:pt x="19145" y="17280"/>
                  </a:cubicBezTo>
                  <a:lnTo>
                    <a:pt x="19636" y="17280"/>
                  </a:lnTo>
                  <a:cubicBezTo>
                    <a:pt x="20721" y="17280"/>
                    <a:pt x="21600" y="16314"/>
                    <a:pt x="21600" y="15120"/>
                  </a:cubicBezTo>
                  <a:lnTo>
                    <a:pt x="21600" y="4321"/>
                  </a:lnTo>
                  <a:cubicBezTo>
                    <a:pt x="21600" y="3127"/>
                    <a:pt x="20721" y="2161"/>
                    <a:pt x="19636" y="2161"/>
                  </a:cubicBezTo>
                  <a:moveTo>
                    <a:pt x="16691" y="9720"/>
                  </a:moveTo>
                  <a:lnTo>
                    <a:pt x="982" y="9720"/>
                  </a:lnTo>
                  <a:lnTo>
                    <a:pt x="982" y="6481"/>
                  </a:lnTo>
                  <a:cubicBezTo>
                    <a:pt x="982" y="5884"/>
                    <a:pt x="1421" y="5400"/>
                    <a:pt x="1964" y="5400"/>
                  </a:cubicBezTo>
                  <a:lnTo>
                    <a:pt x="5891" y="5400"/>
                  </a:lnTo>
                  <a:cubicBezTo>
                    <a:pt x="7364" y="5400"/>
                    <a:pt x="7364" y="7560"/>
                    <a:pt x="9818" y="7560"/>
                  </a:cubicBezTo>
                  <a:lnTo>
                    <a:pt x="15709" y="7560"/>
                  </a:lnTo>
                  <a:cubicBezTo>
                    <a:pt x="16251" y="7560"/>
                    <a:pt x="16691" y="8044"/>
                    <a:pt x="16691" y="8641"/>
                  </a:cubicBezTo>
                  <a:cubicBezTo>
                    <a:pt x="16691" y="8641"/>
                    <a:pt x="16691" y="9720"/>
                    <a:pt x="16691" y="9720"/>
                  </a:cubicBezTo>
                  <a:close/>
                  <a:moveTo>
                    <a:pt x="16691" y="19440"/>
                  </a:moveTo>
                  <a:cubicBezTo>
                    <a:pt x="16691" y="20037"/>
                    <a:pt x="16251" y="20520"/>
                    <a:pt x="15709" y="20520"/>
                  </a:cubicBezTo>
                  <a:lnTo>
                    <a:pt x="1964" y="20520"/>
                  </a:lnTo>
                  <a:cubicBezTo>
                    <a:pt x="1421" y="20520"/>
                    <a:pt x="982" y="20037"/>
                    <a:pt x="982" y="19440"/>
                  </a:cubicBezTo>
                  <a:lnTo>
                    <a:pt x="982" y="10801"/>
                  </a:lnTo>
                  <a:lnTo>
                    <a:pt x="16691" y="10801"/>
                  </a:lnTo>
                  <a:cubicBezTo>
                    <a:pt x="16691" y="10801"/>
                    <a:pt x="16691" y="19440"/>
                    <a:pt x="16691" y="19440"/>
                  </a:cubicBezTo>
                  <a:close/>
                  <a:moveTo>
                    <a:pt x="15709" y="6481"/>
                  </a:moveTo>
                  <a:lnTo>
                    <a:pt x="9818" y="6481"/>
                  </a:lnTo>
                  <a:cubicBezTo>
                    <a:pt x="7855" y="6480"/>
                    <a:pt x="7855" y="4320"/>
                    <a:pt x="5891" y="4320"/>
                  </a:cubicBezTo>
                  <a:lnTo>
                    <a:pt x="1964" y="4320"/>
                  </a:lnTo>
                  <a:cubicBezTo>
                    <a:pt x="879" y="4320"/>
                    <a:pt x="0" y="5287"/>
                    <a:pt x="0" y="6481"/>
                  </a:cubicBezTo>
                  <a:lnTo>
                    <a:pt x="0" y="19440"/>
                  </a:lnTo>
                  <a:cubicBezTo>
                    <a:pt x="0" y="20634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634"/>
                    <a:pt x="17673" y="19440"/>
                  </a:cubicBezTo>
                  <a:lnTo>
                    <a:pt x="17673" y="8641"/>
                  </a:lnTo>
                  <a:cubicBezTo>
                    <a:pt x="17673" y="7447"/>
                    <a:pt x="16794" y="6481"/>
                    <a:pt x="15709" y="6481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31" name="Shape 2621">
              <a:extLst>
                <a:ext uri="{FF2B5EF4-FFF2-40B4-BE49-F238E27FC236}">
                  <a16:creationId xmlns:a16="http://schemas.microsoft.com/office/drawing/2014/main" id="{09A68A06-1F11-E0F6-4F1B-176DCDF015DB}"/>
                </a:ext>
              </a:extLst>
            </p:cNvPr>
            <p:cNvSpPr/>
            <p:nvPr/>
          </p:nvSpPr>
          <p:spPr>
            <a:xfrm>
              <a:off x="14178001" y="4406039"/>
              <a:ext cx="419100" cy="266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057"/>
                  </a:moveTo>
                  <a:cubicBezTo>
                    <a:pt x="5378" y="20057"/>
                    <a:pt x="982" y="13445"/>
                    <a:pt x="982" y="10800"/>
                  </a:cubicBezTo>
                  <a:cubicBezTo>
                    <a:pt x="982" y="8155"/>
                    <a:pt x="5378" y="1543"/>
                    <a:pt x="10800" y="1543"/>
                  </a:cubicBezTo>
                  <a:cubicBezTo>
                    <a:pt x="16223" y="1543"/>
                    <a:pt x="20618" y="8155"/>
                    <a:pt x="20618" y="10800"/>
                  </a:cubicBezTo>
                  <a:cubicBezTo>
                    <a:pt x="20618" y="13445"/>
                    <a:pt x="16223" y="20057"/>
                    <a:pt x="10800" y="20057"/>
                  </a:cubicBezTo>
                  <a:moveTo>
                    <a:pt x="10800" y="0"/>
                  </a:moveTo>
                  <a:cubicBezTo>
                    <a:pt x="4835" y="0"/>
                    <a:pt x="0" y="7714"/>
                    <a:pt x="0" y="10800"/>
                  </a:cubicBezTo>
                  <a:cubicBezTo>
                    <a:pt x="0" y="13886"/>
                    <a:pt x="4835" y="21600"/>
                    <a:pt x="10800" y="21600"/>
                  </a:cubicBezTo>
                  <a:cubicBezTo>
                    <a:pt x="16765" y="21600"/>
                    <a:pt x="21600" y="13886"/>
                    <a:pt x="21600" y="10800"/>
                  </a:cubicBezTo>
                  <a:cubicBezTo>
                    <a:pt x="21600" y="7714"/>
                    <a:pt x="16765" y="0"/>
                    <a:pt x="10800" y="0"/>
                  </a:cubicBezTo>
                  <a:moveTo>
                    <a:pt x="10800" y="16971"/>
                  </a:moveTo>
                  <a:cubicBezTo>
                    <a:pt x="8631" y="16971"/>
                    <a:pt x="6873" y="14209"/>
                    <a:pt x="6873" y="10800"/>
                  </a:cubicBezTo>
                  <a:cubicBezTo>
                    <a:pt x="6873" y="7392"/>
                    <a:pt x="8631" y="4629"/>
                    <a:pt x="10800" y="4629"/>
                  </a:cubicBezTo>
                  <a:cubicBezTo>
                    <a:pt x="12969" y="4629"/>
                    <a:pt x="14727" y="7392"/>
                    <a:pt x="14727" y="10800"/>
                  </a:cubicBezTo>
                  <a:cubicBezTo>
                    <a:pt x="14727" y="14209"/>
                    <a:pt x="12969" y="16971"/>
                    <a:pt x="10800" y="16971"/>
                  </a:cubicBezTo>
                  <a:moveTo>
                    <a:pt x="10800" y="3087"/>
                  </a:moveTo>
                  <a:cubicBezTo>
                    <a:pt x="8088" y="3087"/>
                    <a:pt x="5891" y="6540"/>
                    <a:pt x="5891" y="10800"/>
                  </a:cubicBezTo>
                  <a:cubicBezTo>
                    <a:pt x="5891" y="15061"/>
                    <a:pt x="8088" y="18514"/>
                    <a:pt x="10800" y="18514"/>
                  </a:cubicBezTo>
                  <a:cubicBezTo>
                    <a:pt x="13512" y="18514"/>
                    <a:pt x="15709" y="15061"/>
                    <a:pt x="15709" y="10800"/>
                  </a:cubicBezTo>
                  <a:cubicBezTo>
                    <a:pt x="15709" y="6540"/>
                    <a:pt x="13512" y="3087"/>
                    <a:pt x="10800" y="3087"/>
                  </a:cubicBezTo>
                  <a:moveTo>
                    <a:pt x="10800" y="8486"/>
                  </a:moveTo>
                  <a:cubicBezTo>
                    <a:pt x="9987" y="8486"/>
                    <a:pt x="9327" y="9523"/>
                    <a:pt x="9327" y="10800"/>
                  </a:cubicBezTo>
                  <a:cubicBezTo>
                    <a:pt x="9327" y="12078"/>
                    <a:pt x="9987" y="13114"/>
                    <a:pt x="10800" y="13114"/>
                  </a:cubicBezTo>
                  <a:cubicBezTo>
                    <a:pt x="11613" y="13114"/>
                    <a:pt x="12273" y="12078"/>
                    <a:pt x="12273" y="10800"/>
                  </a:cubicBezTo>
                  <a:cubicBezTo>
                    <a:pt x="12273" y="9523"/>
                    <a:pt x="11613" y="8486"/>
                    <a:pt x="10800" y="8486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41" name="Shape 2631">
              <a:extLst>
                <a:ext uri="{FF2B5EF4-FFF2-40B4-BE49-F238E27FC236}">
                  <a16:creationId xmlns:a16="http://schemas.microsoft.com/office/drawing/2014/main" id="{801A14F6-ABB3-4888-65C3-BCD6D86D3949}"/>
                </a:ext>
              </a:extLst>
            </p:cNvPr>
            <p:cNvSpPr/>
            <p:nvPr/>
          </p:nvSpPr>
          <p:spPr>
            <a:xfrm>
              <a:off x="14178001" y="5167958"/>
              <a:ext cx="419100" cy="3428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3600"/>
                  </a:moveTo>
                  <a:lnTo>
                    <a:pt x="1964" y="3600"/>
                  </a:lnTo>
                  <a:lnTo>
                    <a:pt x="1964" y="1200"/>
                  </a:lnTo>
                  <a:lnTo>
                    <a:pt x="19636" y="1200"/>
                  </a:lnTo>
                  <a:cubicBezTo>
                    <a:pt x="19636" y="1200"/>
                    <a:pt x="19636" y="3600"/>
                    <a:pt x="19636" y="3600"/>
                  </a:cubicBezTo>
                  <a:close/>
                  <a:moveTo>
                    <a:pt x="17182" y="6000"/>
                  </a:moveTo>
                  <a:lnTo>
                    <a:pt x="17182" y="4800"/>
                  </a:lnTo>
                  <a:lnTo>
                    <a:pt x="19145" y="4800"/>
                  </a:lnTo>
                  <a:lnTo>
                    <a:pt x="19145" y="6000"/>
                  </a:lnTo>
                  <a:cubicBezTo>
                    <a:pt x="19145" y="6662"/>
                    <a:pt x="18705" y="7200"/>
                    <a:pt x="18164" y="7200"/>
                  </a:cubicBezTo>
                  <a:cubicBezTo>
                    <a:pt x="17621" y="7200"/>
                    <a:pt x="17182" y="6662"/>
                    <a:pt x="17182" y="6000"/>
                  </a:cubicBezTo>
                  <a:moveTo>
                    <a:pt x="14236" y="6000"/>
                  </a:moveTo>
                  <a:lnTo>
                    <a:pt x="14236" y="4800"/>
                  </a:lnTo>
                  <a:lnTo>
                    <a:pt x="16200" y="4800"/>
                  </a:lnTo>
                  <a:lnTo>
                    <a:pt x="16200" y="6000"/>
                  </a:lnTo>
                  <a:cubicBezTo>
                    <a:pt x="16200" y="6662"/>
                    <a:pt x="15760" y="7200"/>
                    <a:pt x="15218" y="7200"/>
                  </a:cubicBezTo>
                  <a:cubicBezTo>
                    <a:pt x="14675" y="7200"/>
                    <a:pt x="14236" y="6662"/>
                    <a:pt x="14236" y="6000"/>
                  </a:cubicBezTo>
                  <a:moveTo>
                    <a:pt x="11291" y="6000"/>
                  </a:moveTo>
                  <a:lnTo>
                    <a:pt x="11291" y="4800"/>
                  </a:lnTo>
                  <a:lnTo>
                    <a:pt x="13255" y="4800"/>
                  </a:lnTo>
                  <a:lnTo>
                    <a:pt x="13255" y="6000"/>
                  </a:lnTo>
                  <a:cubicBezTo>
                    <a:pt x="13255" y="6662"/>
                    <a:pt x="12814" y="7200"/>
                    <a:pt x="12273" y="7200"/>
                  </a:cubicBezTo>
                  <a:cubicBezTo>
                    <a:pt x="11730" y="7200"/>
                    <a:pt x="11291" y="6662"/>
                    <a:pt x="11291" y="6000"/>
                  </a:cubicBezTo>
                  <a:moveTo>
                    <a:pt x="8345" y="6000"/>
                  </a:moveTo>
                  <a:lnTo>
                    <a:pt x="8345" y="4800"/>
                  </a:lnTo>
                  <a:lnTo>
                    <a:pt x="10309" y="4800"/>
                  </a:lnTo>
                  <a:lnTo>
                    <a:pt x="10309" y="6000"/>
                  </a:lnTo>
                  <a:cubicBezTo>
                    <a:pt x="10309" y="6662"/>
                    <a:pt x="9869" y="7200"/>
                    <a:pt x="9327" y="7200"/>
                  </a:cubicBezTo>
                  <a:cubicBezTo>
                    <a:pt x="8785" y="7200"/>
                    <a:pt x="8345" y="6662"/>
                    <a:pt x="8345" y="6000"/>
                  </a:cubicBezTo>
                  <a:moveTo>
                    <a:pt x="5400" y="6000"/>
                  </a:moveTo>
                  <a:lnTo>
                    <a:pt x="5400" y="4800"/>
                  </a:lnTo>
                  <a:lnTo>
                    <a:pt x="7364" y="4800"/>
                  </a:lnTo>
                  <a:lnTo>
                    <a:pt x="7364" y="6000"/>
                  </a:lnTo>
                  <a:cubicBezTo>
                    <a:pt x="7364" y="6662"/>
                    <a:pt x="6924" y="7200"/>
                    <a:pt x="6382" y="7200"/>
                  </a:cubicBezTo>
                  <a:cubicBezTo>
                    <a:pt x="5839" y="7200"/>
                    <a:pt x="5400" y="6662"/>
                    <a:pt x="5400" y="6000"/>
                  </a:cubicBezTo>
                  <a:moveTo>
                    <a:pt x="2455" y="6000"/>
                  </a:moveTo>
                  <a:lnTo>
                    <a:pt x="2455" y="4800"/>
                  </a:lnTo>
                  <a:lnTo>
                    <a:pt x="4418" y="4800"/>
                  </a:lnTo>
                  <a:lnTo>
                    <a:pt x="4418" y="6000"/>
                  </a:lnTo>
                  <a:cubicBezTo>
                    <a:pt x="4418" y="6662"/>
                    <a:pt x="3978" y="7200"/>
                    <a:pt x="3436" y="7200"/>
                  </a:cubicBezTo>
                  <a:cubicBezTo>
                    <a:pt x="2894" y="7200"/>
                    <a:pt x="2455" y="6662"/>
                    <a:pt x="2455" y="6000"/>
                  </a:cubicBezTo>
                  <a:moveTo>
                    <a:pt x="19636" y="20400"/>
                  </a:moveTo>
                  <a:lnTo>
                    <a:pt x="12764" y="20400"/>
                  </a:lnTo>
                  <a:lnTo>
                    <a:pt x="12764" y="13800"/>
                  </a:lnTo>
                  <a:cubicBezTo>
                    <a:pt x="12764" y="13469"/>
                    <a:pt x="12544" y="13200"/>
                    <a:pt x="12273" y="13200"/>
                  </a:cubicBezTo>
                  <a:lnTo>
                    <a:pt x="9327" y="13200"/>
                  </a:lnTo>
                  <a:cubicBezTo>
                    <a:pt x="9056" y="13200"/>
                    <a:pt x="8836" y="13469"/>
                    <a:pt x="8836" y="13800"/>
                  </a:cubicBezTo>
                  <a:lnTo>
                    <a:pt x="8836" y="20400"/>
                  </a:lnTo>
                  <a:lnTo>
                    <a:pt x="1964" y="20400"/>
                  </a:lnTo>
                  <a:lnTo>
                    <a:pt x="1964" y="7573"/>
                  </a:lnTo>
                  <a:cubicBezTo>
                    <a:pt x="2324" y="8076"/>
                    <a:pt x="2847" y="8400"/>
                    <a:pt x="3436" y="8400"/>
                  </a:cubicBezTo>
                  <a:cubicBezTo>
                    <a:pt x="4026" y="8400"/>
                    <a:pt x="4549" y="8076"/>
                    <a:pt x="4909" y="7573"/>
                  </a:cubicBezTo>
                  <a:cubicBezTo>
                    <a:pt x="5269" y="8076"/>
                    <a:pt x="5792" y="8400"/>
                    <a:pt x="6382" y="8400"/>
                  </a:cubicBezTo>
                  <a:cubicBezTo>
                    <a:pt x="6971" y="8400"/>
                    <a:pt x="7495" y="8076"/>
                    <a:pt x="7855" y="7573"/>
                  </a:cubicBezTo>
                  <a:cubicBezTo>
                    <a:pt x="8215" y="8076"/>
                    <a:pt x="8738" y="8400"/>
                    <a:pt x="9327" y="8400"/>
                  </a:cubicBezTo>
                  <a:cubicBezTo>
                    <a:pt x="9917" y="8400"/>
                    <a:pt x="10440" y="8076"/>
                    <a:pt x="10800" y="7573"/>
                  </a:cubicBezTo>
                  <a:cubicBezTo>
                    <a:pt x="11160" y="8076"/>
                    <a:pt x="11683" y="8400"/>
                    <a:pt x="12273" y="8400"/>
                  </a:cubicBezTo>
                  <a:cubicBezTo>
                    <a:pt x="12862" y="8400"/>
                    <a:pt x="13385" y="8076"/>
                    <a:pt x="13745" y="7573"/>
                  </a:cubicBezTo>
                  <a:cubicBezTo>
                    <a:pt x="14105" y="8076"/>
                    <a:pt x="14629" y="8400"/>
                    <a:pt x="15218" y="8400"/>
                  </a:cubicBezTo>
                  <a:cubicBezTo>
                    <a:pt x="15808" y="8400"/>
                    <a:pt x="16331" y="8076"/>
                    <a:pt x="16691" y="7573"/>
                  </a:cubicBezTo>
                  <a:cubicBezTo>
                    <a:pt x="17051" y="8076"/>
                    <a:pt x="17574" y="8400"/>
                    <a:pt x="18164" y="8400"/>
                  </a:cubicBezTo>
                  <a:cubicBezTo>
                    <a:pt x="18753" y="8400"/>
                    <a:pt x="19276" y="8076"/>
                    <a:pt x="19636" y="7573"/>
                  </a:cubicBezTo>
                  <a:cubicBezTo>
                    <a:pt x="19636" y="7573"/>
                    <a:pt x="19636" y="20400"/>
                    <a:pt x="19636" y="20400"/>
                  </a:cubicBezTo>
                  <a:close/>
                  <a:moveTo>
                    <a:pt x="11782" y="20400"/>
                  </a:moveTo>
                  <a:lnTo>
                    <a:pt x="9818" y="204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20400"/>
                    <a:pt x="11782" y="20400"/>
                  </a:cubicBezTo>
                  <a:close/>
                  <a:moveTo>
                    <a:pt x="21109" y="20400"/>
                  </a:moveTo>
                  <a:lnTo>
                    <a:pt x="20618" y="20400"/>
                  </a:lnTo>
                  <a:lnTo>
                    <a:pt x="20618" y="4800"/>
                  </a:lnTo>
                  <a:lnTo>
                    <a:pt x="21109" y="4800"/>
                  </a:lnTo>
                  <a:cubicBezTo>
                    <a:pt x="21380" y="4800"/>
                    <a:pt x="21600" y="4532"/>
                    <a:pt x="21600" y="4200"/>
                  </a:cubicBezTo>
                  <a:cubicBezTo>
                    <a:pt x="21600" y="3868"/>
                    <a:pt x="21380" y="3600"/>
                    <a:pt x="21109" y="3600"/>
                  </a:cubicBezTo>
                  <a:lnTo>
                    <a:pt x="20618" y="3600"/>
                  </a:lnTo>
                  <a:lnTo>
                    <a:pt x="20618" y="1200"/>
                  </a:lnTo>
                  <a:cubicBezTo>
                    <a:pt x="20618" y="538"/>
                    <a:pt x="20178" y="0"/>
                    <a:pt x="19636" y="0"/>
                  </a:cubicBezTo>
                  <a:lnTo>
                    <a:pt x="1964" y="0"/>
                  </a:lnTo>
                  <a:cubicBezTo>
                    <a:pt x="1421" y="0"/>
                    <a:pt x="982" y="538"/>
                    <a:pt x="982" y="1200"/>
                  </a:cubicBezTo>
                  <a:lnTo>
                    <a:pt x="982" y="3600"/>
                  </a:lnTo>
                  <a:lnTo>
                    <a:pt x="491" y="3600"/>
                  </a:lnTo>
                  <a:cubicBezTo>
                    <a:pt x="220" y="3600"/>
                    <a:pt x="0" y="3868"/>
                    <a:pt x="0" y="4200"/>
                  </a:cubicBezTo>
                  <a:cubicBezTo>
                    <a:pt x="0" y="4532"/>
                    <a:pt x="220" y="4800"/>
                    <a:pt x="491" y="4800"/>
                  </a:cubicBezTo>
                  <a:lnTo>
                    <a:pt x="982" y="4800"/>
                  </a:lnTo>
                  <a:lnTo>
                    <a:pt x="982" y="20400"/>
                  </a:lnTo>
                  <a:lnTo>
                    <a:pt x="491" y="20400"/>
                  </a:lnTo>
                  <a:cubicBezTo>
                    <a:pt x="220" y="20400"/>
                    <a:pt x="0" y="20669"/>
                    <a:pt x="0" y="21000"/>
                  </a:cubicBezTo>
                  <a:cubicBezTo>
                    <a:pt x="0" y="21332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32"/>
                    <a:pt x="21600" y="21000"/>
                  </a:cubicBezTo>
                  <a:cubicBezTo>
                    <a:pt x="21600" y="20669"/>
                    <a:pt x="21380" y="20400"/>
                    <a:pt x="21109" y="20400"/>
                  </a:cubicBezTo>
                  <a:moveTo>
                    <a:pt x="16691" y="16800"/>
                  </a:moveTo>
                  <a:lnTo>
                    <a:pt x="14727" y="16800"/>
                  </a:lnTo>
                  <a:lnTo>
                    <a:pt x="14727" y="14400"/>
                  </a:lnTo>
                  <a:lnTo>
                    <a:pt x="16691" y="14400"/>
                  </a:lnTo>
                  <a:cubicBezTo>
                    <a:pt x="16691" y="14400"/>
                    <a:pt x="16691" y="16800"/>
                    <a:pt x="16691" y="16800"/>
                  </a:cubicBezTo>
                  <a:close/>
                  <a:moveTo>
                    <a:pt x="17182" y="13200"/>
                  </a:moveTo>
                  <a:lnTo>
                    <a:pt x="14236" y="13200"/>
                  </a:lnTo>
                  <a:cubicBezTo>
                    <a:pt x="13965" y="13200"/>
                    <a:pt x="13745" y="13469"/>
                    <a:pt x="13745" y="13800"/>
                  </a:cubicBezTo>
                  <a:lnTo>
                    <a:pt x="13745" y="17400"/>
                  </a:lnTo>
                  <a:cubicBezTo>
                    <a:pt x="13745" y="17732"/>
                    <a:pt x="13965" y="18000"/>
                    <a:pt x="14236" y="18000"/>
                  </a:cubicBezTo>
                  <a:lnTo>
                    <a:pt x="17182" y="18000"/>
                  </a:lnTo>
                  <a:cubicBezTo>
                    <a:pt x="17453" y="18000"/>
                    <a:pt x="17673" y="17732"/>
                    <a:pt x="17673" y="17400"/>
                  </a:cubicBezTo>
                  <a:lnTo>
                    <a:pt x="17673" y="13800"/>
                  </a:lnTo>
                  <a:cubicBezTo>
                    <a:pt x="17673" y="13469"/>
                    <a:pt x="17453" y="13200"/>
                    <a:pt x="17182" y="13200"/>
                  </a:cubicBezTo>
                  <a:moveTo>
                    <a:pt x="6873" y="16800"/>
                  </a:moveTo>
                  <a:lnTo>
                    <a:pt x="4909" y="16800"/>
                  </a:lnTo>
                  <a:lnTo>
                    <a:pt x="4909" y="14400"/>
                  </a:lnTo>
                  <a:lnTo>
                    <a:pt x="6873" y="14400"/>
                  </a:lnTo>
                  <a:cubicBezTo>
                    <a:pt x="6873" y="14400"/>
                    <a:pt x="6873" y="16800"/>
                    <a:pt x="6873" y="16800"/>
                  </a:cubicBezTo>
                  <a:close/>
                  <a:moveTo>
                    <a:pt x="7364" y="13200"/>
                  </a:moveTo>
                  <a:lnTo>
                    <a:pt x="4418" y="13200"/>
                  </a:lnTo>
                  <a:cubicBezTo>
                    <a:pt x="4147" y="13200"/>
                    <a:pt x="3927" y="13469"/>
                    <a:pt x="3927" y="13800"/>
                  </a:cubicBezTo>
                  <a:lnTo>
                    <a:pt x="3927" y="17400"/>
                  </a:lnTo>
                  <a:cubicBezTo>
                    <a:pt x="3927" y="17732"/>
                    <a:pt x="4147" y="18000"/>
                    <a:pt x="4418" y="18000"/>
                  </a:cubicBezTo>
                  <a:lnTo>
                    <a:pt x="7364" y="18000"/>
                  </a:lnTo>
                  <a:cubicBezTo>
                    <a:pt x="7635" y="18000"/>
                    <a:pt x="7855" y="17732"/>
                    <a:pt x="7855" y="17400"/>
                  </a:cubicBezTo>
                  <a:lnTo>
                    <a:pt x="7855" y="13800"/>
                  </a:lnTo>
                  <a:cubicBezTo>
                    <a:pt x="7855" y="13469"/>
                    <a:pt x="7635" y="13200"/>
                    <a:pt x="7364" y="13200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87" name="Shape 2867">
              <a:extLst>
                <a:ext uri="{FF2B5EF4-FFF2-40B4-BE49-F238E27FC236}">
                  <a16:creationId xmlns:a16="http://schemas.microsoft.com/office/drawing/2014/main" id="{8851BF4B-C75E-CA3A-04EA-0DE25DA0029C}"/>
                </a:ext>
              </a:extLst>
            </p:cNvPr>
            <p:cNvSpPr/>
            <p:nvPr/>
          </p:nvSpPr>
          <p:spPr>
            <a:xfrm>
              <a:off x="14178001" y="6927417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91" y="6986"/>
                  </a:moveTo>
                  <a:cubicBezTo>
                    <a:pt x="14241" y="6976"/>
                    <a:pt x="14187" y="6971"/>
                    <a:pt x="14134" y="6971"/>
                  </a:cubicBezTo>
                  <a:cubicBezTo>
                    <a:pt x="13808" y="6971"/>
                    <a:pt x="13598" y="7166"/>
                    <a:pt x="13572" y="7494"/>
                  </a:cubicBezTo>
                  <a:cubicBezTo>
                    <a:pt x="13242" y="11704"/>
                    <a:pt x="13044" y="12909"/>
                    <a:pt x="13042" y="12921"/>
                  </a:cubicBezTo>
                  <a:lnTo>
                    <a:pt x="13046" y="13020"/>
                  </a:lnTo>
                  <a:lnTo>
                    <a:pt x="13142" y="13032"/>
                  </a:lnTo>
                  <a:lnTo>
                    <a:pt x="13172" y="13032"/>
                  </a:lnTo>
                  <a:cubicBezTo>
                    <a:pt x="13281" y="13032"/>
                    <a:pt x="13386" y="13050"/>
                    <a:pt x="13473" y="13085"/>
                  </a:cubicBezTo>
                  <a:lnTo>
                    <a:pt x="13579" y="13126"/>
                  </a:lnTo>
                  <a:lnTo>
                    <a:pt x="13598" y="13012"/>
                  </a:lnTo>
                  <a:cubicBezTo>
                    <a:pt x="13837" y="11522"/>
                    <a:pt x="14296" y="9525"/>
                    <a:pt x="14542" y="8453"/>
                  </a:cubicBezTo>
                  <a:cubicBezTo>
                    <a:pt x="14618" y="8121"/>
                    <a:pt x="14675" y="7877"/>
                    <a:pt x="14698" y="7763"/>
                  </a:cubicBezTo>
                  <a:cubicBezTo>
                    <a:pt x="14745" y="7530"/>
                    <a:pt x="14724" y="7343"/>
                    <a:pt x="14637" y="7206"/>
                  </a:cubicBezTo>
                  <a:cubicBezTo>
                    <a:pt x="14563" y="7092"/>
                    <a:pt x="14447" y="7018"/>
                    <a:pt x="14291" y="6986"/>
                  </a:cubicBezTo>
                  <a:moveTo>
                    <a:pt x="13280" y="13606"/>
                  </a:moveTo>
                  <a:cubicBezTo>
                    <a:pt x="12921" y="13524"/>
                    <a:pt x="12660" y="13682"/>
                    <a:pt x="12569" y="14030"/>
                  </a:cubicBezTo>
                  <a:cubicBezTo>
                    <a:pt x="12528" y="14187"/>
                    <a:pt x="12550" y="14335"/>
                    <a:pt x="12631" y="14459"/>
                  </a:cubicBezTo>
                  <a:cubicBezTo>
                    <a:pt x="12706" y="14574"/>
                    <a:pt x="12831" y="14661"/>
                    <a:pt x="12982" y="14701"/>
                  </a:cubicBezTo>
                  <a:cubicBezTo>
                    <a:pt x="13045" y="14719"/>
                    <a:pt x="13109" y="14728"/>
                    <a:pt x="13172" y="14728"/>
                  </a:cubicBezTo>
                  <a:cubicBezTo>
                    <a:pt x="13438" y="14728"/>
                    <a:pt x="13639" y="14578"/>
                    <a:pt x="13698" y="14338"/>
                  </a:cubicBezTo>
                  <a:cubicBezTo>
                    <a:pt x="13741" y="14156"/>
                    <a:pt x="13722" y="13990"/>
                    <a:pt x="13643" y="13857"/>
                  </a:cubicBezTo>
                  <a:cubicBezTo>
                    <a:pt x="13567" y="13732"/>
                    <a:pt x="13439" y="13644"/>
                    <a:pt x="13280" y="13606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3098" y="6884"/>
                  </a:moveTo>
                  <a:lnTo>
                    <a:pt x="12930" y="6884"/>
                  </a:lnTo>
                  <a:lnTo>
                    <a:pt x="12906" y="6887"/>
                  </a:lnTo>
                  <a:cubicBezTo>
                    <a:pt x="12646" y="6961"/>
                    <a:pt x="12244" y="6961"/>
                    <a:pt x="11983" y="6887"/>
                  </a:cubicBezTo>
                  <a:lnTo>
                    <a:pt x="11902" y="6884"/>
                  </a:lnTo>
                  <a:lnTo>
                    <a:pt x="9988" y="10156"/>
                  </a:lnTo>
                  <a:lnTo>
                    <a:pt x="8067" y="6873"/>
                  </a:lnTo>
                  <a:lnTo>
                    <a:pt x="8000" y="6891"/>
                  </a:lnTo>
                  <a:cubicBezTo>
                    <a:pt x="7739" y="6962"/>
                    <a:pt x="7347" y="6960"/>
                    <a:pt x="7088" y="6887"/>
                  </a:cubicBezTo>
                  <a:lnTo>
                    <a:pt x="6878" y="6884"/>
                  </a:lnTo>
                  <a:lnTo>
                    <a:pt x="9482" y="11392"/>
                  </a:lnTo>
                  <a:lnTo>
                    <a:pt x="9404" y="14626"/>
                  </a:lnTo>
                  <a:lnTo>
                    <a:pt x="9407" y="14722"/>
                  </a:lnTo>
                  <a:lnTo>
                    <a:pt x="9502" y="14722"/>
                  </a:lnTo>
                  <a:lnTo>
                    <a:pt x="9526" y="14719"/>
                  </a:lnTo>
                  <a:cubicBezTo>
                    <a:pt x="9786" y="14646"/>
                    <a:pt x="10190" y="14646"/>
                    <a:pt x="10449" y="14719"/>
                  </a:cubicBezTo>
                  <a:lnTo>
                    <a:pt x="10573" y="14722"/>
                  </a:lnTo>
                  <a:lnTo>
                    <a:pt x="10512" y="11391"/>
                  </a:lnTo>
                  <a:cubicBezTo>
                    <a:pt x="10600" y="11229"/>
                    <a:pt x="11150" y="10205"/>
                    <a:pt x="11738" y="9180"/>
                  </a:cubicBezTo>
                  <a:cubicBezTo>
                    <a:pt x="12342" y="8126"/>
                    <a:pt x="13008" y="7040"/>
                    <a:pt x="13015" y="7029"/>
                  </a:cubicBezTo>
                  <a:cubicBezTo>
                    <a:pt x="13015" y="7029"/>
                    <a:pt x="13098" y="6884"/>
                    <a:pt x="13098" y="6884"/>
                  </a:cubicBezTo>
                  <a:close/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97" name="Shape 2877">
              <a:extLst>
                <a:ext uri="{FF2B5EF4-FFF2-40B4-BE49-F238E27FC236}">
                  <a16:creationId xmlns:a16="http://schemas.microsoft.com/office/drawing/2014/main" id="{04907518-A9A3-BF8D-0C1B-171D29DFA8FE}"/>
                </a:ext>
              </a:extLst>
            </p:cNvPr>
            <p:cNvSpPr/>
            <p:nvPr/>
          </p:nvSpPr>
          <p:spPr>
            <a:xfrm>
              <a:off x="14178001" y="7727432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724" y="7360"/>
                  </a:moveTo>
                  <a:lnTo>
                    <a:pt x="13742" y="7360"/>
                  </a:lnTo>
                  <a:lnTo>
                    <a:pt x="13742" y="8833"/>
                  </a:lnTo>
                  <a:lnTo>
                    <a:pt x="12265" y="8833"/>
                  </a:lnTo>
                  <a:lnTo>
                    <a:pt x="12265" y="9815"/>
                  </a:lnTo>
                  <a:lnTo>
                    <a:pt x="13742" y="9815"/>
                  </a:lnTo>
                  <a:lnTo>
                    <a:pt x="13742" y="11283"/>
                  </a:lnTo>
                  <a:lnTo>
                    <a:pt x="14724" y="11283"/>
                  </a:lnTo>
                  <a:lnTo>
                    <a:pt x="14724" y="9815"/>
                  </a:lnTo>
                  <a:lnTo>
                    <a:pt x="16204" y="9815"/>
                  </a:lnTo>
                  <a:lnTo>
                    <a:pt x="16204" y="8833"/>
                  </a:lnTo>
                  <a:lnTo>
                    <a:pt x="14724" y="8833"/>
                  </a:lnTo>
                  <a:cubicBezTo>
                    <a:pt x="14724" y="8833"/>
                    <a:pt x="14724" y="7360"/>
                    <a:pt x="14724" y="7360"/>
                  </a:cubicBezTo>
                  <a:close/>
                  <a:moveTo>
                    <a:pt x="9321" y="13946"/>
                  </a:moveTo>
                  <a:cubicBezTo>
                    <a:pt x="8620" y="13946"/>
                    <a:pt x="8070" y="13495"/>
                    <a:pt x="8070" y="12919"/>
                  </a:cubicBezTo>
                  <a:cubicBezTo>
                    <a:pt x="8070" y="12392"/>
                    <a:pt x="8713" y="11929"/>
                    <a:pt x="9446" y="11929"/>
                  </a:cubicBezTo>
                  <a:lnTo>
                    <a:pt x="9446" y="11723"/>
                  </a:lnTo>
                  <a:lnTo>
                    <a:pt x="9465" y="11929"/>
                  </a:lnTo>
                  <a:cubicBezTo>
                    <a:pt x="9623" y="11930"/>
                    <a:pt x="9777" y="11954"/>
                    <a:pt x="9922" y="12000"/>
                  </a:cubicBezTo>
                  <a:lnTo>
                    <a:pt x="10067" y="12104"/>
                  </a:lnTo>
                  <a:cubicBezTo>
                    <a:pt x="10439" y="12371"/>
                    <a:pt x="10637" y="12521"/>
                    <a:pt x="10695" y="12764"/>
                  </a:cubicBezTo>
                  <a:cubicBezTo>
                    <a:pt x="10710" y="12827"/>
                    <a:pt x="10717" y="12891"/>
                    <a:pt x="10717" y="12954"/>
                  </a:cubicBezTo>
                  <a:cubicBezTo>
                    <a:pt x="10717" y="13612"/>
                    <a:pt x="10247" y="13946"/>
                    <a:pt x="9321" y="13946"/>
                  </a:cubicBezTo>
                  <a:moveTo>
                    <a:pt x="8542" y="8739"/>
                  </a:moveTo>
                  <a:cubicBezTo>
                    <a:pt x="8494" y="8362"/>
                    <a:pt x="8574" y="8014"/>
                    <a:pt x="8754" y="7806"/>
                  </a:cubicBezTo>
                  <a:cubicBezTo>
                    <a:pt x="8864" y="7680"/>
                    <a:pt x="9006" y="7612"/>
                    <a:pt x="9163" y="7612"/>
                  </a:cubicBezTo>
                  <a:lnTo>
                    <a:pt x="9163" y="7409"/>
                  </a:lnTo>
                  <a:lnTo>
                    <a:pt x="9164" y="7409"/>
                  </a:lnTo>
                  <a:lnTo>
                    <a:pt x="9182" y="7613"/>
                  </a:lnTo>
                  <a:cubicBezTo>
                    <a:pt x="9653" y="7628"/>
                    <a:pt x="10105" y="8185"/>
                    <a:pt x="10189" y="8855"/>
                  </a:cubicBezTo>
                  <a:cubicBezTo>
                    <a:pt x="10237" y="9239"/>
                    <a:pt x="10154" y="9595"/>
                    <a:pt x="9969" y="9809"/>
                  </a:cubicBezTo>
                  <a:cubicBezTo>
                    <a:pt x="9860" y="9935"/>
                    <a:pt x="9721" y="10002"/>
                    <a:pt x="9550" y="10001"/>
                  </a:cubicBezTo>
                  <a:lnTo>
                    <a:pt x="9549" y="10001"/>
                  </a:lnTo>
                  <a:cubicBezTo>
                    <a:pt x="9087" y="9988"/>
                    <a:pt x="8625" y="9409"/>
                    <a:pt x="8542" y="8739"/>
                  </a:cubicBezTo>
                  <a:moveTo>
                    <a:pt x="10838" y="11196"/>
                  </a:moveTo>
                  <a:cubicBezTo>
                    <a:pt x="10586" y="11009"/>
                    <a:pt x="10351" y="10732"/>
                    <a:pt x="10342" y="10647"/>
                  </a:cubicBezTo>
                  <a:cubicBezTo>
                    <a:pt x="10342" y="10499"/>
                    <a:pt x="10342" y="10431"/>
                    <a:pt x="10689" y="10148"/>
                  </a:cubicBezTo>
                  <a:cubicBezTo>
                    <a:pt x="11138" y="9780"/>
                    <a:pt x="11386" y="9296"/>
                    <a:pt x="11386" y="8784"/>
                  </a:cubicBezTo>
                  <a:cubicBezTo>
                    <a:pt x="11386" y="8342"/>
                    <a:pt x="11262" y="7947"/>
                    <a:pt x="11049" y="7660"/>
                  </a:cubicBezTo>
                  <a:lnTo>
                    <a:pt x="11238" y="7660"/>
                  </a:lnTo>
                  <a:lnTo>
                    <a:pt x="12276" y="6873"/>
                  </a:lnTo>
                  <a:lnTo>
                    <a:pt x="9463" y="6873"/>
                  </a:lnTo>
                  <a:cubicBezTo>
                    <a:pt x="8334" y="6873"/>
                    <a:pt x="7345" y="7760"/>
                    <a:pt x="7345" y="8769"/>
                  </a:cubicBezTo>
                  <a:cubicBezTo>
                    <a:pt x="7345" y="9812"/>
                    <a:pt x="8109" y="10605"/>
                    <a:pt x="9136" y="10648"/>
                  </a:cubicBezTo>
                  <a:cubicBezTo>
                    <a:pt x="9121" y="10722"/>
                    <a:pt x="9113" y="10795"/>
                    <a:pt x="9113" y="10867"/>
                  </a:cubicBezTo>
                  <a:cubicBezTo>
                    <a:pt x="9113" y="11018"/>
                    <a:pt x="9147" y="11162"/>
                    <a:pt x="9216" y="11300"/>
                  </a:cubicBezTo>
                  <a:cubicBezTo>
                    <a:pt x="7942" y="11309"/>
                    <a:pt x="6869" y="12161"/>
                    <a:pt x="6869" y="13167"/>
                  </a:cubicBezTo>
                  <a:cubicBezTo>
                    <a:pt x="6869" y="14071"/>
                    <a:pt x="7902" y="14727"/>
                    <a:pt x="9325" y="14727"/>
                  </a:cubicBezTo>
                  <a:cubicBezTo>
                    <a:pt x="10861" y="14727"/>
                    <a:pt x="11690" y="13766"/>
                    <a:pt x="11690" y="12860"/>
                  </a:cubicBezTo>
                  <a:cubicBezTo>
                    <a:pt x="11690" y="12108"/>
                    <a:pt x="11459" y="11656"/>
                    <a:pt x="10838" y="11196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407" name="Shape 2887">
              <a:extLst>
                <a:ext uri="{FF2B5EF4-FFF2-40B4-BE49-F238E27FC236}">
                  <a16:creationId xmlns:a16="http://schemas.microsoft.com/office/drawing/2014/main" id="{B8510971-3B1E-6251-AF2F-DEFEC6AA8EBB}"/>
                </a:ext>
              </a:extLst>
            </p:cNvPr>
            <p:cNvSpPr/>
            <p:nvPr/>
          </p:nvSpPr>
          <p:spPr>
            <a:xfrm>
              <a:off x="14216099" y="8527447"/>
              <a:ext cx="342901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36" y="15709"/>
                  </a:moveTo>
                  <a:lnTo>
                    <a:pt x="14845" y="15709"/>
                  </a:lnTo>
                  <a:lnTo>
                    <a:pt x="14845" y="14144"/>
                  </a:lnTo>
                  <a:lnTo>
                    <a:pt x="16443" y="14144"/>
                  </a:lnTo>
                  <a:lnTo>
                    <a:pt x="16443" y="13428"/>
                  </a:lnTo>
                  <a:lnTo>
                    <a:pt x="14845" y="13428"/>
                  </a:lnTo>
                  <a:lnTo>
                    <a:pt x="14845" y="12538"/>
                  </a:lnTo>
                  <a:lnTo>
                    <a:pt x="16555" y="12538"/>
                  </a:lnTo>
                  <a:lnTo>
                    <a:pt x="16555" y="11816"/>
                  </a:lnTo>
                  <a:lnTo>
                    <a:pt x="13836" y="11816"/>
                  </a:lnTo>
                  <a:cubicBezTo>
                    <a:pt x="13836" y="11816"/>
                    <a:pt x="13836" y="15709"/>
                    <a:pt x="13836" y="15709"/>
                  </a:cubicBezTo>
                  <a:close/>
                  <a:moveTo>
                    <a:pt x="14400" y="5891"/>
                  </a:moveTo>
                  <a:lnTo>
                    <a:pt x="14400" y="982"/>
                  </a:lnTo>
                  <a:lnTo>
                    <a:pt x="15000" y="982"/>
                  </a:lnTo>
                  <a:lnTo>
                    <a:pt x="20400" y="5891"/>
                  </a:lnTo>
                  <a:cubicBezTo>
                    <a:pt x="20400" y="5891"/>
                    <a:pt x="14400" y="5891"/>
                    <a:pt x="14400" y="5891"/>
                  </a:cubicBezTo>
                  <a:close/>
                  <a:moveTo>
                    <a:pt x="20400" y="19636"/>
                  </a:moveTo>
                  <a:cubicBezTo>
                    <a:pt x="20400" y="20179"/>
                    <a:pt x="19863" y="20618"/>
                    <a:pt x="19200" y="20618"/>
                  </a:cubicBezTo>
                  <a:lnTo>
                    <a:pt x="2400" y="20618"/>
                  </a:lnTo>
                  <a:cubicBezTo>
                    <a:pt x="1737" y="20618"/>
                    <a:pt x="1200" y="20179"/>
                    <a:pt x="1200" y="19636"/>
                  </a:cubicBezTo>
                  <a:lnTo>
                    <a:pt x="1200" y="1964"/>
                  </a:lnTo>
                  <a:cubicBezTo>
                    <a:pt x="1200" y="1421"/>
                    <a:pt x="1737" y="982"/>
                    <a:pt x="2400" y="982"/>
                  </a:cubicBezTo>
                  <a:lnTo>
                    <a:pt x="13200" y="982"/>
                  </a:lnTo>
                  <a:lnTo>
                    <a:pt x="13200" y="5891"/>
                  </a:lnTo>
                  <a:cubicBezTo>
                    <a:pt x="13200" y="6433"/>
                    <a:pt x="13737" y="6872"/>
                    <a:pt x="14400" y="6872"/>
                  </a:cubicBezTo>
                  <a:lnTo>
                    <a:pt x="20400" y="6872"/>
                  </a:lnTo>
                  <a:cubicBezTo>
                    <a:pt x="20400" y="6872"/>
                    <a:pt x="20400" y="19636"/>
                    <a:pt x="20400" y="19636"/>
                  </a:cubicBezTo>
                  <a:close/>
                  <a:moveTo>
                    <a:pt x="156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5400"/>
                  </a:lnTo>
                  <a:cubicBezTo>
                    <a:pt x="21600" y="5400"/>
                    <a:pt x="15600" y="0"/>
                    <a:pt x="15600" y="0"/>
                  </a:cubicBezTo>
                  <a:close/>
                  <a:moveTo>
                    <a:pt x="10396" y="15062"/>
                  </a:moveTo>
                  <a:cubicBezTo>
                    <a:pt x="10270" y="15062"/>
                    <a:pt x="10131" y="15062"/>
                    <a:pt x="10045" y="15045"/>
                  </a:cubicBezTo>
                  <a:lnTo>
                    <a:pt x="10045" y="12498"/>
                  </a:lnTo>
                  <a:cubicBezTo>
                    <a:pt x="10131" y="12480"/>
                    <a:pt x="10277" y="12463"/>
                    <a:pt x="10501" y="12463"/>
                  </a:cubicBezTo>
                  <a:cubicBezTo>
                    <a:pt x="11366" y="12463"/>
                    <a:pt x="11907" y="12891"/>
                    <a:pt x="11900" y="13699"/>
                  </a:cubicBezTo>
                  <a:cubicBezTo>
                    <a:pt x="11900" y="14629"/>
                    <a:pt x="11306" y="15068"/>
                    <a:pt x="10396" y="15062"/>
                  </a:cubicBezTo>
                  <a:moveTo>
                    <a:pt x="10396" y="11787"/>
                  </a:moveTo>
                  <a:cubicBezTo>
                    <a:pt x="9887" y="11787"/>
                    <a:pt x="9405" y="11816"/>
                    <a:pt x="9036" y="11868"/>
                  </a:cubicBezTo>
                  <a:lnTo>
                    <a:pt x="9036" y="15691"/>
                  </a:lnTo>
                  <a:cubicBezTo>
                    <a:pt x="9287" y="15720"/>
                    <a:pt x="9656" y="15749"/>
                    <a:pt x="10178" y="15749"/>
                  </a:cubicBezTo>
                  <a:cubicBezTo>
                    <a:pt x="11048" y="15749"/>
                    <a:pt x="11762" y="15587"/>
                    <a:pt x="12231" y="15246"/>
                  </a:cubicBezTo>
                  <a:cubicBezTo>
                    <a:pt x="12660" y="14929"/>
                    <a:pt x="12970" y="14415"/>
                    <a:pt x="12970" y="13670"/>
                  </a:cubicBezTo>
                  <a:cubicBezTo>
                    <a:pt x="12970" y="12983"/>
                    <a:pt x="12680" y="12503"/>
                    <a:pt x="12217" y="12203"/>
                  </a:cubicBezTo>
                  <a:cubicBezTo>
                    <a:pt x="11788" y="11920"/>
                    <a:pt x="11241" y="11787"/>
                    <a:pt x="10396" y="11787"/>
                  </a:cubicBezTo>
                  <a:moveTo>
                    <a:pt x="6769" y="13659"/>
                  </a:moveTo>
                  <a:cubicBezTo>
                    <a:pt x="6623" y="13659"/>
                    <a:pt x="6518" y="13653"/>
                    <a:pt x="6432" y="13636"/>
                  </a:cubicBezTo>
                  <a:lnTo>
                    <a:pt x="6432" y="12486"/>
                  </a:lnTo>
                  <a:cubicBezTo>
                    <a:pt x="6505" y="12469"/>
                    <a:pt x="6643" y="12452"/>
                    <a:pt x="6848" y="12452"/>
                  </a:cubicBezTo>
                  <a:cubicBezTo>
                    <a:pt x="7350" y="12452"/>
                    <a:pt x="7634" y="12665"/>
                    <a:pt x="7634" y="13023"/>
                  </a:cubicBezTo>
                  <a:cubicBezTo>
                    <a:pt x="7634" y="13422"/>
                    <a:pt x="7304" y="13659"/>
                    <a:pt x="6769" y="13659"/>
                  </a:cubicBezTo>
                  <a:moveTo>
                    <a:pt x="6796" y="11787"/>
                  </a:moveTo>
                  <a:cubicBezTo>
                    <a:pt x="6182" y="11787"/>
                    <a:pt x="5746" y="11822"/>
                    <a:pt x="5436" y="11868"/>
                  </a:cubicBezTo>
                  <a:lnTo>
                    <a:pt x="5436" y="15709"/>
                  </a:lnTo>
                  <a:lnTo>
                    <a:pt x="6432" y="15709"/>
                  </a:lnTo>
                  <a:lnTo>
                    <a:pt x="6432" y="14317"/>
                  </a:lnTo>
                  <a:cubicBezTo>
                    <a:pt x="6525" y="14328"/>
                    <a:pt x="6643" y="14334"/>
                    <a:pt x="6776" y="14334"/>
                  </a:cubicBezTo>
                  <a:cubicBezTo>
                    <a:pt x="7370" y="14334"/>
                    <a:pt x="7878" y="14207"/>
                    <a:pt x="8221" y="13924"/>
                  </a:cubicBezTo>
                  <a:cubicBezTo>
                    <a:pt x="8486" y="13705"/>
                    <a:pt x="8631" y="13381"/>
                    <a:pt x="8631" y="13000"/>
                  </a:cubicBezTo>
                  <a:cubicBezTo>
                    <a:pt x="8631" y="12619"/>
                    <a:pt x="8439" y="12296"/>
                    <a:pt x="8155" y="12099"/>
                  </a:cubicBezTo>
                  <a:cubicBezTo>
                    <a:pt x="7859" y="11892"/>
                    <a:pt x="7416" y="11787"/>
                    <a:pt x="6796" y="11787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667D65F-2BD9-153D-6492-9E1009764727}"/>
              </a:ext>
            </a:extLst>
          </p:cNvPr>
          <p:cNvGrpSpPr/>
          <p:nvPr/>
        </p:nvGrpSpPr>
        <p:grpSpPr>
          <a:xfrm>
            <a:off x="14978100" y="1929802"/>
            <a:ext cx="419100" cy="7016701"/>
            <a:chOff x="14978100" y="1929802"/>
            <a:chExt cx="419100" cy="7016701"/>
          </a:xfrm>
        </p:grpSpPr>
        <p:sp>
          <p:nvSpPr>
            <p:cNvPr id="174" name="Shape 2592">
              <a:extLst>
                <a:ext uri="{FF2B5EF4-FFF2-40B4-BE49-F238E27FC236}">
                  <a16:creationId xmlns:a16="http://schemas.microsoft.com/office/drawing/2014/main" id="{C309EB5E-682B-AF74-DBA3-61E6B85D9E1C}"/>
                </a:ext>
              </a:extLst>
            </p:cNvPr>
            <p:cNvSpPr/>
            <p:nvPr/>
          </p:nvSpPr>
          <p:spPr>
            <a:xfrm>
              <a:off x="14978100" y="1929802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012"/>
                  </a:moveTo>
                  <a:cubicBezTo>
                    <a:pt x="20614" y="12014"/>
                    <a:pt x="20611" y="12016"/>
                    <a:pt x="20607" y="12016"/>
                  </a:cubicBezTo>
                  <a:lnTo>
                    <a:pt x="19602" y="12268"/>
                  </a:lnTo>
                  <a:cubicBezTo>
                    <a:pt x="19256" y="12354"/>
                    <a:pt x="18984" y="12622"/>
                    <a:pt x="18892" y="12966"/>
                  </a:cubicBezTo>
                  <a:cubicBezTo>
                    <a:pt x="18703" y="13672"/>
                    <a:pt x="18421" y="14352"/>
                    <a:pt x="18053" y="14986"/>
                  </a:cubicBezTo>
                  <a:cubicBezTo>
                    <a:pt x="17873" y="15295"/>
                    <a:pt x="17876" y="15677"/>
                    <a:pt x="18060" y="15984"/>
                  </a:cubicBezTo>
                  <a:lnTo>
                    <a:pt x="18601" y="16885"/>
                  </a:lnTo>
                  <a:lnTo>
                    <a:pt x="16886" y="18600"/>
                  </a:lnTo>
                  <a:cubicBezTo>
                    <a:pt x="16882" y="18598"/>
                    <a:pt x="16878" y="18597"/>
                    <a:pt x="16875" y="18595"/>
                  </a:cubicBezTo>
                  <a:lnTo>
                    <a:pt x="15978" y="18057"/>
                  </a:lnTo>
                  <a:cubicBezTo>
                    <a:pt x="15822" y="17964"/>
                    <a:pt x="15648" y="17917"/>
                    <a:pt x="15473" y="17917"/>
                  </a:cubicBezTo>
                  <a:cubicBezTo>
                    <a:pt x="15304" y="17917"/>
                    <a:pt x="15134" y="17961"/>
                    <a:pt x="14982" y="18049"/>
                  </a:cubicBezTo>
                  <a:cubicBezTo>
                    <a:pt x="14348" y="18415"/>
                    <a:pt x="13671" y="18696"/>
                    <a:pt x="12968" y="18884"/>
                  </a:cubicBezTo>
                  <a:cubicBezTo>
                    <a:pt x="12624" y="18976"/>
                    <a:pt x="12356" y="19248"/>
                    <a:pt x="12269" y="19594"/>
                  </a:cubicBezTo>
                  <a:lnTo>
                    <a:pt x="12016" y="20607"/>
                  </a:lnTo>
                  <a:cubicBezTo>
                    <a:pt x="12015" y="20611"/>
                    <a:pt x="12014" y="20614"/>
                    <a:pt x="12012" y="20619"/>
                  </a:cubicBezTo>
                  <a:lnTo>
                    <a:pt x="9587" y="20619"/>
                  </a:lnTo>
                  <a:lnTo>
                    <a:pt x="9331" y="19594"/>
                  </a:lnTo>
                  <a:cubicBezTo>
                    <a:pt x="9244" y="19248"/>
                    <a:pt x="8976" y="18976"/>
                    <a:pt x="8632" y="18884"/>
                  </a:cubicBezTo>
                  <a:cubicBezTo>
                    <a:pt x="7929" y="18696"/>
                    <a:pt x="7252" y="18415"/>
                    <a:pt x="6617" y="18049"/>
                  </a:cubicBezTo>
                  <a:cubicBezTo>
                    <a:pt x="6465" y="17961"/>
                    <a:pt x="6296" y="17917"/>
                    <a:pt x="6127" y="17917"/>
                  </a:cubicBezTo>
                  <a:cubicBezTo>
                    <a:pt x="5951" y="17917"/>
                    <a:pt x="5777" y="17964"/>
                    <a:pt x="5621" y="18057"/>
                  </a:cubicBezTo>
                  <a:lnTo>
                    <a:pt x="4725" y="18595"/>
                  </a:lnTo>
                  <a:cubicBezTo>
                    <a:pt x="4722" y="18597"/>
                    <a:pt x="4718" y="18598"/>
                    <a:pt x="4714" y="18600"/>
                  </a:cubicBezTo>
                  <a:lnTo>
                    <a:pt x="3000" y="16885"/>
                  </a:lnTo>
                  <a:lnTo>
                    <a:pt x="3540" y="15984"/>
                  </a:lnTo>
                  <a:cubicBezTo>
                    <a:pt x="3724" y="15677"/>
                    <a:pt x="3727" y="15295"/>
                    <a:pt x="3548" y="14986"/>
                  </a:cubicBezTo>
                  <a:cubicBezTo>
                    <a:pt x="3179" y="14351"/>
                    <a:pt x="2897" y="13672"/>
                    <a:pt x="2708" y="12966"/>
                  </a:cubicBezTo>
                  <a:cubicBezTo>
                    <a:pt x="2616" y="12622"/>
                    <a:pt x="2343" y="12354"/>
                    <a:pt x="1998" y="12268"/>
                  </a:cubicBezTo>
                  <a:lnTo>
                    <a:pt x="993" y="12016"/>
                  </a:lnTo>
                  <a:cubicBezTo>
                    <a:pt x="989" y="12016"/>
                    <a:pt x="986" y="12014"/>
                    <a:pt x="982" y="12012"/>
                  </a:cubicBezTo>
                  <a:lnTo>
                    <a:pt x="982" y="9587"/>
                  </a:lnTo>
                  <a:lnTo>
                    <a:pt x="1998" y="9333"/>
                  </a:lnTo>
                  <a:cubicBezTo>
                    <a:pt x="2343" y="9246"/>
                    <a:pt x="2616" y="8979"/>
                    <a:pt x="2708" y="8634"/>
                  </a:cubicBezTo>
                  <a:cubicBezTo>
                    <a:pt x="2897" y="7929"/>
                    <a:pt x="3179" y="7249"/>
                    <a:pt x="3548" y="6615"/>
                  </a:cubicBezTo>
                  <a:cubicBezTo>
                    <a:pt x="3727" y="6305"/>
                    <a:pt x="3724" y="5923"/>
                    <a:pt x="3540" y="5617"/>
                  </a:cubicBezTo>
                  <a:lnTo>
                    <a:pt x="3005" y="4725"/>
                  </a:lnTo>
                  <a:cubicBezTo>
                    <a:pt x="3004" y="4722"/>
                    <a:pt x="3002" y="4719"/>
                    <a:pt x="3000" y="4715"/>
                  </a:cubicBezTo>
                  <a:lnTo>
                    <a:pt x="4715" y="3000"/>
                  </a:lnTo>
                  <a:lnTo>
                    <a:pt x="5621" y="3543"/>
                  </a:lnTo>
                  <a:cubicBezTo>
                    <a:pt x="5777" y="3637"/>
                    <a:pt x="5951" y="3683"/>
                    <a:pt x="6127" y="3683"/>
                  </a:cubicBezTo>
                  <a:cubicBezTo>
                    <a:pt x="6296" y="3683"/>
                    <a:pt x="6465" y="3639"/>
                    <a:pt x="6618" y="3552"/>
                  </a:cubicBezTo>
                  <a:cubicBezTo>
                    <a:pt x="7251" y="3185"/>
                    <a:pt x="7929" y="2904"/>
                    <a:pt x="8632" y="2717"/>
                  </a:cubicBezTo>
                  <a:cubicBezTo>
                    <a:pt x="8976" y="2624"/>
                    <a:pt x="9244" y="2352"/>
                    <a:pt x="9331" y="2006"/>
                  </a:cubicBezTo>
                  <a:lnTo>
                    <a:pt x="9587" y="982"/>
                  </a:lnTo>
                  <a:lnTo>
                    <a:pt x="12012" y="982"/>
                  </a:lnTo>
                  <a:cubicBezTo>
                    <a:pt x="12014" y="986"/>
                    <a:pt x="12015" y="989"/>
                    <a:pt x="12016" y="993"/>
                  </a:cubicBezTo>
                  <a:lnTo>
                    <a:pt x="12269" y="2006"/>
                  </a:lnTo>
                  <a:cubicBezTo>
                    <a:pt x="12356" y="2352"/>
                    <a:pt x="12624" y="2624"/>
                    <a:pt x="12968" y="2717"/>
                  </a:cubicBezTo>
                  <a:cubicBezTo>
                    <a:pt x="13671" y="2904"/>
                    <a:pt x="14348" y="3185"/>
                    <a:pt x="14982" y="3552"/>
                  </a:cubicBezTo>
                  <a:cubicBezTo>
                    <a:pt x="15134" y="3639"/>
                    <a:pt x="15304" y="3683"/>
                    <a:pt x="15473" y="3683"/>
                  </a:cubicBezTo>
                  <a:cubicBezTo>
                    <a:pt x="15648" y="3683"/>
                    <a:pt x="15822" y="3637"/>
                    <a:pt x="15978" y="3543"/>
                  </a:cubicBezTo>
                  <a:lnTo>
                    <a:pt x="16884" y="3000"/>
                  </a:lnTo>
                  <a:lnTo>
                    <a:pt x="18600" y="4715"/>
                  </a:lnTo>
                  <a:cubicBezTo>
                    <a:pt x="18598" y="4719"/>
                    <a:pt x="18597" y="4722"/>
                    <a:pt x="18595" y="4725"/>
                  </a:cubicBezTo>
                  <a:lnTo>
                    <a:pt x="18060" y="5616"/>
                  </a:lnTo>
                  <a:cubicBezTo>
                    <a:pt x="17876" y="5923"/>
                    <a:pt x="17873" y="6305"/>
                    <a:pt x="18053" y="6615"/>
                  </a:cubicBezTo>
                  <a:cubicBezTo>
                    <a:pt x="18421" y="7249"/>
                    <a:pt x="18703" y="7928"/>
                    <a:pt x="18892" y="8634"/>
                  </a:cubicBezTo>
                  <a:cubicBezTo>
                    <a:pt x="18984" y="8979"/>
                    <a:pt x="19256" y="9246"/>
                    <a:pt x="19602" y="9333"/>
                  </a:cubicBezTo>
                  <a:lnTo>
                    <a:pt x="20618" y="9587"/>
                  </a:lnTo>
                  <a:cubicBezTo>
                    <a:pt x="20618" y="9587"/>
                    <a:pt x="20618" y="12012"/>
                    <a:pt x="20618" y="12012"/>
                  </a:cubicBezTo>
                  <a:close/>
                  <a:moveTo>
                    <a:pt x="20880" y="8641"/>
                  </a:moveTo>
                  <a:lnTo>
                    <a:pt x="19841" y="8380"/>
                  </a:lnTo>
                  <a:cubicBezTo>
                    <a:pt x="19626" y="7580"/>
                    <a:pt x="19308" y="6822"/>
                    <a:pt x="18902" y="6122"/>
                  </a:cubicBezTo>
                  <a:lnTo>
                    <a:pt x="19455" y="5200"/>
                  </a:lnTo>
                  <a:cubicBezTo>
                    <a:pt x="19625" y="4871"/>
                    <a:pt x="19736" y="4463"/>
                    <a:pt x="19455" y="4182"/>
                  </a:cubicBezTo>
                  <a:lnTo>
                    <a:pt x="17419" y="2145"/>
                  </a:lnTo>
                  <a:cubicBezTo>
                    <a:pt x="17292" y="2019"/>
                    <a:pt x="17136" y="1968"/>
                    <a:pt x="16975" y="1968"/>
                  </a:cubicBezTo>
                  <a:cubicBezTo>
                    <a:pt x="16778" y="1968"/>
                    <a:pt x="16572" y="2043"/>
                    <a:pt x="16400" y="2145"/>
                  </a:cubicBezTo>
                  <a:lnTo>
                    <a:pt x="15473" y="2701"/>
                  </a:lnTo>
                  <a:cubicBezTo>
                    <a:pt x="14775" y="2298"/>
                    <a:pt x="14020" y="1982"/>
                    <a:pt x="13222" y="1768"/>
                  </a:cubicBezTo>
                  <a:lnTo>
                    <a:pt x="12960" y="720"/>
                  </a:lnTo>
                  <a:cubicBezTo>
                    <a:pt x="12848" y="367"/>
                    <a:pt x="12638" y="0"/>
                    <a:pt x="12240" y="0"/>
                  </a:cubicBezTo>
                  <a:lnTo>
                    <a:pt x="9360" y="0"/>
                  </a:lnTo>
                  <a:cubicBezTo>
                    <a:pt x="8962" y="0"/>
                    <a:pt x="8730" y="367"/>
                    <a:pt x="8640" y="720"/>
                  </a:cubicBezTo>
                  <a:lnTo>
                    <a:pt x="8378" y="1768"/>
                  </a:lnTo>
                  <a:cubicBezTo>
                    <a:pt x="7580" y="1982"/>
                    <a:pt x="6825" y="2298"/>
                    <a:pt x="6127" y="2701"/>
                  </a:cubicBezTo>
                  <a:lnTo>
                    <a:pt x="5200" y="2145"/>
                  </a:lnTo>
                  <a:cubicBezTo>
                    <a:pt x="5028" y="2043"/>
                    <a:pt x="4822" y="1968"/>
                    <a:pt x="4625" y="1968"/>
                  </a:cubicBezTo>
                  <a:cubicBezTo>
                    <a:pt x="4464" y="1968"/>
                    <a:pt x="4308" y="2019"/>
                    <a:pt x="4181" y="2145"/>
                  </a:cubicBezTo>
                  <a:lnTo>
                    <a:pt x="2145" y="4182"/>
                  </a:lnTo>
                  <a:cubicBezTo>
                    <a:pt x="1864" y="4463"/>
                    <a:pt x="1975" y="4871"/>
                    <a:pt x="2145" y="5200"/>
                  </a:cubicBezTo>
                  <a:lnTo>
                    <a:pt x="2698" y="6122"/>
                  </a:lnTo>
                  <a:cubicBezTo>
                    <a:pt x="2292" y="6822"/>
                    <a:pt x="1973" y="7580"/>
                    <a:pt x="1759" y="8380"/>
                  </a:cubicBezTo>
                  <a:lnTo>
                    <a:pt x="720" y="8641"/>
                  </a:lnTo>
                  <a:cubicBezTo>
                    <a:pt x="367" y="8730"/>
                    <a:pt x="0" y="8962"/>
                    <a:pt x="0" y="9361"/>
                  </a:cubicBezTo>
                  <a:lnTo>
                    <a:pt x="0" y="12240"/>
                  </a:lnTo>
                  <a:cubicBezTo>
                    <a:pt x="0" y="12638"/>
                    <a:pt x="367" y="12848"/>
                    <a:pt x="720" y="12960"/>
                  </a:cubicBezTo>
                  <a:lnTo>
                    <a:pt x="1759" y="13220"/>
                  </a:lnTo>
                  <a:cubicBezTo>
                    <a:pt x="1973" y="14021"/>
                    <a:pt x="2292" y="14778"/>
                    <a:pt x="2698" y="15479"/>
                  </a:cubicBezTo>
                  <a:lnTo>
                    <a:pt x="2145" y="16400"/>
                  </a:lnTo>
                  <a:cubicBezTo>
                    <a:pt x="1959" y="16713"/>
                    <a:pt x="1864" y="17137"/>
                    <a:pt x="2145" y="17419"/>
                  </a:cubicBezTo>
                  <a:lnTo>
                    <a:pt x="4181" y="19455"/>
                  </a:lnTo>
                  <a:cubicBezTo>
                    <a:pt x="4305" y="19579"/>
                    <a:pt x="4454" y="19627"/>
                    <a:pt x="4610" y="19627"/>
                  </a:cubicBezTo>
                  <a:cubicBezTo>
                    <a:pt x="4807" y="19627"/>
                    <a:pt x="5016" y="19550"/>
                    <a:pt x="5200" y="19455"/>
                  </a:cubicBezTo>
                  <a:lnTo>
                    <a:pt x="6127" y="18899"/>
                  </a:lnTo>
                  <a:cubicBezTo>
                    <a:pt x="6825" y="19302"/>
                    <a:pt x="7580" y="19619"/>
                    <a:pt x="8378" y="19832"/>
                  </a:cubicBezTo>
                  <a:lnTo>
                    <a:pt x="8640" y="20880"/>
                  </a:lnTo>
                  <a:cubicBezTo>
                    <a:pt x="8730" y="21233"/>
                    <a:pt x="8962" y="21600"/>
                    <a:pt x="9360" y="21600"/>
                  </a:cubicBezTo>
                  <a:lnTo>
                    <a:pt x="12240" y="21600"/>
                  </a:lnTo>
                  <a:cubicBezTo>
                    <a:pt x="12638" y="21600"/>
                    <a:pt x="12848" y="21233"/>
                    <a:pt x="12960" y="20880"/>
                  </a:cubicBezTo>
                  <a:lnTo>
                    <a:pt x="13222" y="19832"/>
                  </a:lnTo>
                  <a:cubicBezTo>
                    <a:pt x="14020" y="19619"/>
                    <a:pt x="14775" y="19302"/>
                    <a:pt x="15473" y="18899"/>
                  </a:cubicBezTo>
                  <a:lnTo>
                    <a:pt x="16400" y="19455"/>
                  </a:lnTo>
                  <a:cubicBezTo>
                    <a:pt x="16584" y="19550"/>
                    <a:pt x="16793" y="19627"/>
                    <a:pt x="16990" y="19627"/>
                  </a:cubicBezTo>
                  <a:cubicBezTo>
                    <a:pt x="17146" y="19627"/>
                    <a:pt x="17294" y="19579"/>
                    <a:pt x="17419" y="19455"/>
                  </a:cubicBezTo>
                  <a:lnTo>
                    <a:pt x="19455" y="17419"/>
                  </a:lnTo>
                  <a:cubicBezTo>
                    <a:pt x="19736" y="17137"/>
                    <a:pt x="19641" y="16713"/>
                    <a:pt x="19455" y="16400"/>
                  </a:cubicBezTo>
                  <a:lnTo>
                    <a:pt x="18902" y="15479"/>
                  </a:lnTo>
                  <a:cubicBezTo>
                    <a:pt x="19308" y="14778"/>
                    <a:pt x="19626" y="14021"/>
                    <a:pt x="19841" y="13220"/>
                  </a:cubicBezTo>
                  <a:lnTo>
                    <a:pt x="20880" y="12960"/>
                  </a:lnTo>
                  <a:cubicBezTo>
                    <a:pt x="21233" y="12848"/>
                    <a:pt x="21600" y="12638"/>
                    <a:pt x="21600" y="12240"/>
                  </a:cubicBezTo>
                  <a:lnTo>
                    <a:pt x="21600" y="9361"/>
                  </a:lnTo>
                  <a:cubicBezTo>
                    <a:pt x="21600" y="8962"/>
                    <a:pt x="21233" y="8730"/>
                    <a:pt x="20880" y="8641"/>
                  </a:cubicBezTo>
                  <a:moveTo>
                    <a:pt x="15709" y="10800"/>
                  </a:moveTo>
                  <a:cubicBezTo>
                    <a:pt x="15709" y="13346"/>
                    <a:pt x="13771" y="15438"/>
                    <a:pt x="11291" y="15685"/>
                  </a:cubicBezTo>
                  <a:lnTo>
                    <a:pt x="11291" y="12694"/>
                  </a:lnTo>
                  <a:cubicBezTo>
                    <a:pt x="12137" y="12476"/>
                    <a:pt x="12764" y="11714"/>
                    <a:pt x="12764" y="10800"/>
                  </a:cubicBezTo>
                  <a:cubicBezTo>
                    <a:pt x="12764" y="10630"/>
                    <a:pt x="12735" y="10468"/>
                    <a:pt x="12694" y="10310"/>
                  </a:cubicBezTo>
                  <a:lnTo>
                    <a:pt x="15308" y="8857"/>
                  </a:lnTo>
                  <a:cubicBezTo>
                    <a:pt x="15565" y="9453"/>
                    <a:pt x="15709" y="10110"/>
                    <a:pt x="15709" y="10800"/>
                  </a:cubicBezTo>
                  <a:moveTo>
                    <a:pt x="9818" y="10800"/>
                  </a:moveTo>
                  <a:cubicBezTo>
                    <a:pt x="9818" y="10258"/>
                    <a:pt x="10258" y="9818"/>
                    <a:pt x="10800" y="9818"/>
                  </a:cubicBezTo>
                  <a:cubicBezTo>
                    <a:pt x="11342" y="9818"/>
                    <a:pt x="11782" y="10258"/>
                    <a:pt x="11782" y="10800"/>
                  </a:cubicBezTo>
                  <a:cubicBezTo>
                    <a:pt x="11782" y="11342"/>
                    <a:pt x="11342" y="11782"/>
                    <a:pt x="10800" y="11782"/>
                  </a:cubicBezTo>
                  <a:cubicBezTo>
                    <a:pt x="10258" y="11782"/>
                    <a:pt x="9818" y="11342"/>
                    <a:pt x="9818" y="10800"/>
                  </a:cubicBezTo>
                  <a:moveTo>
                    <a:pt x="10309" y="15685"/>
                  </a:moveTo>
                  <a:cubicBezTo>
                    <a:pt x="7829" y="15438"/>
                    <a:pt x="5891" y="13346"/>
                    <a:pt x="5891" y="10800"/>
                  </a:cubicBezTo>
                  <a:cubicBezTo>
                    <a:pt x="5891" y="10110"/>
                    <a:pt x="6035" y="9453"/>
                    <a:pt x="6292" y="8857"/>
                  </a:cubicBezTo>
                  <a:lnTo>
                    <a:pt x="8906" y="10310"/>
                  </a:lnTo>
                  <a:cubicBezTo>
                    <a:pt x="8865" y="10468"/>
                    <a:pt x="8836" y="10630"/>
                    <a:pt x="8836" y="10800"/>
                  </a:cubicBezTo>
                  <a:cubicBezTo>
                    <a:pt x="8836" y="11714"/>
                    <a:pt x="9463" y="12476"/>
                    <a:pt x="10309" y="12694"/>
                  </a:cubicBezTo>
                  <a:cubicBezTo>
                    <a:pt x="10309" y="12694"/>
                    <a:pt x="10309" y="15685"/>
                    <a:pt x="10309" y="15685"/>
                  </a:cubicBezTo>
                  <a:close/>
                  <a:moveTo>
                    <a:pt x="10800" y="5891"/>
                  </a:moveTo>
                  <a:cubicBezTo>
                    <a:pt x="12470" y="5891"/>
                    <a:pt x="13942" y="6727"/>
                    <a:pt x="14829" y="8000"/>
                  </a:cubicBezTo>
                  <a:lnTo>
                    <a:pt x="12220" y="9450"/>
                  </a:lnTo>
                  <a:cubicBezTo>
                    <a:pt x="11862" y="9074"/>
                    <a:pt x="11360" y="8836"/>
                    <a:pt x="10800" y="8836"/>
                  </a:cubicBezTo>
                  <a:cubicBezTo>
                    <a:pt x="10240" y="8836"/>
                    <a:pt x="9738" y="9074"/>
                    <a:pt x="9380" y="9450"/>
                  </a:cubicBezTo>
                  <a:lnTo>
                    <a:pt x="6771" y="8000"/>
                  </a:lnTo>
                  <a:cubicBezTo>
                    <a:pt x="7658" y="6727"/>
                    <a:pt x="9130" y="5891"/>
                    <a:pt x="10800" y="5891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184" name="Shape 2602">
              <a:extLst>
                <a:ext uri="{FF2B5EF4-FFF2-40B4-BE49-F238E27FC236}">
                  <a16:creationId xmlns:a16="http://schemas.microsoft.com/office/drawing/2014/main" id="{B62FAA5D-6ED6-F981-D63B-F0649667A70A}"/>
                </a:ext>
              </a:extLst>
            </p:cNvPr>
            <p:cNvSpPr/>
            <p:nvPr/>
          </p:nvSpPr>
          <p:spPr>
            <a:xfrm>
              <a:off x="14978100" y="2767913"/>
              <a:ext cx="419100" cy="3428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6001"/>
                  </a:moveTo>
                  <a:lnTo>
                    <a:pt x="8345" y="6001"/>
                  </a:lnTo>
                  <a:cubicBezTo>
                    <a:pt x="8617" y="6001"/>
                    <a:pt x="8836" y="5732"/>
                    <a:pt x="8836" y="5400"/>
                  </a:cubicBezTo>
                  <a:cubicBezTo>
                    <a:pt x="8836" y="5069"/>
                    <a:pt x="8617" y="4800"/>
                    <a:pt x="8345" y="4800"/>
                  </a:cubicBezTo>
                  <a:lnTo>
                    <a:pt x="5400" y="4800"/>
                  </a:lnTo>
                  <a:cubicBezTo>
                    <a:pt x="5129" y="4800"/>
                    <a:pt x="4909" y="5069"/>
                    <a:pt x="4909" y="5400"/>
                  </a:cubicBezTo>
                  <a:cubicBezTo>
                    <a:pt x="4909" y="5732"/>
                    <a:pt x="5129" y="6001"/>
                    <a:pt x="5400" y="6001"/>
                  </a:cubicBezTo>
                  <a:moveTo>
                    <a:pt x="20618" y="20400"/>
                  </a:moveTo>
                  <a:lnTo>
                    <a:pt x="18655" y="20400"/>
                  </a:lnTo>
                  <a:lnTo>
                    <a:pt x="18655" y="18000"/>
                  </a:lnTo>
                  <a:cubicBezTo>
                    <a:pt x="18926" y="18000"/>
                    <a:pt x="19145" y="17732"/>
                    <a:pt x="19145" y="17400"/>
                  </a:cubicBezTo>
                  <a:cubicBezTo>
                    <a:pt x="19145" y="17069"/>
                    <a:pt x="18926" y="16801"/>
                    <a:pt x="18655" y="16801"/>
                  </a:cubicBezTo>
                  <a:lnTo>
                    <a:pt x="18655" y="3601"/>
                  </a:lnTo>
                  <a:lnTo>
                    <a:pt x="20618" y="3601"/>
                  </a:lnTo>
                  <a:cubicBezTo>
                    <a:pt x="20618" y="3601"/>
                    <a:pt x="20618" y="20400"/>
                    <a:pt x="20618" y="20400"/>
                  </a:cubicBezTo>
                  <a:close/>
                  <a:moveTo>
                    <a:pt x="17673" y="16801"/>
                  </a:moveTo>
                  <a:cubicBezTo>
                    <a:pt x="17401" y="16801"/>
                    <a:pt x="17182" y="17069"/>
                    <a:pt x="17182" y="17400"/>
                  </a:cubicBezTo>
                  <a:cubicBezTo>
                    <a:pt x="17182" y="17732"/>
                    <a:pt x="17401" y="18000"/>
                    <a:pt x="17673" y="18000"/>
                  </a:cubicBezTo>
                  <a:lnTo>
                    <a:pt x="17673" y="20400"/>
                  </a:lnTo>
                  <a:lnTo>
                    <a:pt x="3927" y="20400"/>
                  </a:lnTo>
                  <a:lnTo>
                    <a:pt x="3927" y="18000"/>
                  </a:lnTo>
                  <a:cubicBezTo>
                    <a:pt x="4199" y="18000"/>
                    <a:pt x="4418" y="17732"/>
                    <a:pt x="4418" y="17400"/>
                  </a:cubicBezTo>
                  <a:cubicBezTo>
                    <a:pt x="4418" y="17069"/>
                    <a:pt x="4199" y="16801"/>
                    <a:pt x="3927" y="16801"/>
                  </a:cubicBezTo>
                  <a:lnTo>
                    <a:pt x="3927" y="3601"/>
                  </a:lnTo>
                  <a:lnTo>
                    <a:pt x="17673" y="3601"/>
                  </a:lnTo>
                  <a:cubicBezTo>
                    <a:pt x="17673" y="3601"/>
                    <a:pt x="17673" y="16801"/>
                    <a:pt x="17673" y="16801"/>
                  </a:cubicBezTo>
                  <a:close/>
                  <a:moveTo>
                    <a:pt x="2945" y="16801"/>
                  </a:moveTo>
                  <a:cubicBezTo>
                    <a:pt x="2674" y="16801"/>
                    <a:pt x="2455" y="17069"/>
                    <a:pt x="2455" y="17400"/>
                  </a:cubicBezTo>
                  <a:cubicBezTo>
                    <a:pt x="2455" y="17732"/>
                    <a:pt x="2674" y="18000"/>
                    <a:pt x="2945" y="18000"/>
                  </a:cubicBezTo>
                  <a:lnTo>
                    <a:pt x="2945" y="20400"/>
                  </a:lnTo>
                  <a:lnTo>
                    <a:pt x="982" y="20400"/>
                  </a:lnTo>
                  <a:lnTo>
                    <a:pt x="982" y="3601"/>
                  </a:lnTo>
                  <a:lnTo>
                    <a:pt x="2945" y="3601"/>
                  </a:lnTo>
                  <a:cubicBezTo>
                    <a:pt x="2945" y="3601"/>
                    <a:pt x="2945" y="16801"/>
                    <a:pt x="2945" y="16801"/>
                  </a:cubicBezTo>
                  <a:close/>
                  <a:moveTo>
                    <a:pt x="8836" y="1200"/>
                  </a:moveTo>
                  <a:lnTo>
                    <a:pt x="12764" y="1200"/>
                  </a:lnTo>
                  <a:cubicBezTo>
                    <a:pt x="13305" y="1200"/>
                    <a:pt x="13745" y="1738"/>
                    <a:pt x="13745" y="2400"/>
                  </a:cubicBezTo>
                  <a:lnTo>
                    <a:pt x="7855" y="2400"/>
                  </a:lnTo>
                  <a:cubicBezTo>
                    <a:pt x="7855" y="1738"/>
                    <a:pt x="8295" y="1200"/>
                    <a:pt x="8836" y="1200"/>
                  </a:cubicBezTo>
                  <a:moveTo>
                    <a:pt x="20618" y="2400"/>
                  </a:moveTo>
                  <a:lnTo>
                    <a:pt x="14727" y="2400"/>
                  </a:lnTo>
                  <a:cubicBezTo>
                    <a:pt x="14727" y="1075"/>
                    <a:pt x="13848" y="0"/>
                    <a:pt x="12764" y="0"/>
                  </a:cubicBezTo>
                  <a:lnTo>
                    <a:pt x="8836" y="0"/>
                  </a:lnTo>
                  <a:cubicBezTo>
                    <a:pt x="7752" y="0"/>
                    <a:pt x="6873" y="1075"/>
                    <a:pt x="6873" y="2400"/>
                  </a:cubicBezTo>
                  <a:lnTo>
                    <a:pt x="982" y="2400"/>
                  </a:lnTo>
                  <a:cubicBezTo>
                    <a:pt x="439" y="2400"/>
                    <a:pt x="0" y="2938"/>
                    <a:pt x="0" y="3601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063"/>
                    <a:pt x="21600" y="20400"/>
                  </a:cubicBezTo>
                  <a:lnTo>
                    <a:pt x="21600" y="3601"/>
                  </a:lnTo>
                  <a:cubicBezTo>
                    <a:pt x="21600" y="2938"/>
                    <a:pt x="21160" y="2400"/>
                    <a:pt x="20618" y="2400"/>
                  </a:cubicBezTo>
                  <a:moveTo>
                    <a:pt x="5400" y="8400"/>
                  </a:moveTo>
                  <a:lnTo>
                    <a:pt x="6382" y="8400"/>
                  </a:lnTo>
                  <a:cubicBezTo>
                    <a:pt x="6653" y="8400"/>
                    <a:pt x="6873" y="8132"/>
                    <a:pt x="6873" y="7800"/>
                  </a:cubicBezTo>
                  <a:cubicBezTo>
                    <a:pt x="6873" y="7469"/>
                    <a:pt x="6653" y="7200"/>
                    <a:pt x="6382" y="7200"/>
                  </a:cubicBezTo>
                  <a:lnTo>
                    <a:pt x="5400" y="7200"/>
                  </a:lnTo>
                  <a:cubicBezTo>
                    <a:pt x="5129" y="7200"/>
                    <a:pt x="4909" y="7469"/>
                    <a:pt x="4909" y="7800"/>
                  </a:cubicBezTo>
                  <a:cubicBezTo>
                    <a:pt x="4909" y="8132"/>
                    <a:pt x="5129" y="8400"/>
                    <a:pt x="5400" y="8400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22" name="Shape 2612">
              <a:extLst>
                <a:ext uri="{FF2B5EF4-FFF2-40B4-BE49-F238E27FC236}">
                  <a16:creationId xmlns:a16="http://schemas.microsoft.com/office/drawing/2014/main" id="{26110423-DE13-B022-D2E8-91B43A2AC095}"/>
                </a:ext>
              </a:extLst>
            </p:cNvPr>
            <p:cNvSpPr/>
            <p:nvPr/>
          </p:nvSpPr>
          <p:spPr>
            <a:xfrm>
              <a:off x="14978100" y="3567928"/>
              <a:ext cx="419100" cy="3428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200"/>
                  </a:moveTo>
                  <a:cubicBezTo>
                    <a:pt x="11071" y="13200"/>
                    <a:pt x="11291" y="13469"/>
                    <a:pt x="11291" y="13800"/>
                  </a:cubicBezTo>
                  <a:cubicBezTo>
                    <a:pt x="11291" y="14132"/>
                    <a:pt x="11071" y="14400"/>
                    <a:pt x="10800" y="14400"/>
                  </a:cubicBezTo>
                  <a:cubicBezTo>
                    <a:pt x="10529" y="14400"/>
                    <a:pt x="10309" y="14132"/>
                    <a:pt x="10309" y="13800"/>
                  </a:cubicBezTo>
                  <a:cubicBezTo>
                    <a:pt x="10309" y="13469"/>
                    <a:pt x="10529" y="13200"/>
                    <a:pt x="10800" y="13200"/>
                  </a:cubicBezTo>
                  <a:moveTo>
                    <a:pt x="10800" y="15600"/>
                  </a:moveTo>
                  <a:cubicBezTo>
                    <a:pt x="11613" y="15600"/>
                    <a:pt x="12273" y="14794"/>
                    <a:pt x="12273" y="13800"/>
                  </a:cubicBezTo>
                  <a:cubicBezTo>
                    <a:pt x="12273" y="12806"/>
                    <a:pt x="11613" y="12000"/>
                    <a:pt x="10800" y="12000"/>
                  </a:cubicBezTo>
                  <a:cubicBezTo>
                    <a:pt x="9987" y="12000"/>
                    <a:pt x="9327" y="12806"/>
                    <a:pt x="9327" y="13800"/>
                  </a:cubicBezTo>
                  <a:cubicBezTo>
                    <a:pt x="9327" y="14794"/>
                    <a:pt x="9987" y="15600"/>
                    <a:pt x="10800" y="15600"/>
                  </a:cubicBezTo>
                  <a:moveTo>
                    <a:pt x="5400" y="13200"/>
                  </a:moveTo>
                  <a:cubicBezTo>
                    <a:pt x="5671" y="13200"/>
                    <a:pt x="5891" y="13469"/>
                    <a:pt x="5891" y="13800"/>
                  </a:cubicBezTo>
                  <a:cubicBezTo>
                    <a:pt x="5891" y="14132"/>
                    <a:pt x="5671" y="14400"/>
                    <a:pt x="5400" y="14400"/>
                  </a:cubicBezTo>
                  <a:cubicBezTo>
                    <a:pt x="5129" y="14400"/>
                    <a:pt x="4909" y="14132"/>
                    <a:pt x="4909" y="13800"/>
                  </a:cubicBezTo>
                  <a:cubicBezTo>
                    <a:pt x="4909" y="13469"/>
                    <a:pt x="5129" y="13200"/>
                    <a:pt x="5400" y="13200"/>
                  </a:cubicBezTo>
                  <a:moveTo>
                    <a:pt x="5400" y="15600"/>
                  </a:moveTo>
                  <a:cubicBezTo>
                    <a:pt x="6213" y="15600"/>
                    <a:pt x="6873" y="14794"/>
                    <a:pt x="6873" y="13800"/>
                  </a:cubicBezTo>
                  <a:cubicBezTo>
                    <a:pt x="6873" y="12806"/>
                    <a:pt x="6213" y="12000"/>
                    <a:pt x="5400" y="12000"/>
                  </a:cubicBezTo>
                  <a:cubicBezTo>
                    <a:pt x="4587" y="12000"/>
                    <a:pt x="3927" y="12806"/>
                    <a:pt x="3927" y="13800"/>
                  </a:cubicBezTo>
                  <a:cubicBezTo>
                    <a:pt x="3927" y="14794"/>
                    <a:pt x="4587" y="15600"/>
                    <a:pt x="5400" y="15600"/>
                  </a:cubicBezTo>
                  <a:moveTo>
                    <a:pt x="20618" y="6000"/>
                  </a:moveTo>
                  <a:lnTo>
                    <a:pt x="982" y="6000"/>
                  </a:lnTo>
                  <a:lnTo>
                    <a:pt x="982" y="2399"/>
                  </a:lnTo>
                  <a:cubicBezTo>
                    <a:pt x="982" y="1737"/>
                    <a:pt x="1421" y="1200"/>
                    <a:pt x="1964" y="1200"/>
                  </a:cubicBezTo>
                  <a:lnTo>
                    <a:pt x="6873" y="1200"/>
                  </a:lnTo>
                  <a:cubicBezTo>
                    <a:pt x="8345" y="1200"/>
                    <a:pt x="8345" y="3600"/>
                    <a:pt x="10800" y="3600"/>
                  </a:cubicBezTo>
                  <a:lnTo>
                    <a:pt x="19636" y="3600"/>
                  </a:lnTo>
                  <a:cubicBezTo>
                    <a:pt x="20178" y="3600"/>
                    <a:pt x="20618" y="4137"/>
                    <a:pt x="20618" y="4799"/>
                  </a:cubicBezTo>
                  <a:cubicBezTo>
                    <a:pt x="20618" y="4799"/>
                    <a:pt x="20618" y="6000"/>
                    <a:pt x="20618" y="6000"/>
                  </a:cubicBezTo>
                  <a:close/>
                  <a:moveTo>
                    <a:pt x="20618" y="19200"/>
                  </a:move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1" y="20400"/>
                    <a:pt x="982" y="19862"/>
                    <a:pt x="982" y="19200"/>
                  </a:cubicBezTo>
                  <a:lnTo>
                    <a:pt x="982" y="7199"/>
                  </a:lnTo>
                  <a:lnTo>
                    <a:pt x="20618" y="7199"/>
                  </a:lnTo>
                  <a:cubicBezTo>
                    <a:pt x="20618" y="7199"/>
                    <a:pt x="20618" y="19200"/>
                    <a:pt x="20618" y="19200"/>
                  </a:cubicBezTo>
                  <a:close/>
                  <a:moveTo>
                    <a:pt x="19636" y="2399"/>
                  </a:moveTo>
                  <a:lnTo>
                    <a:pt x="10800" y="2399"/>
                  </a:lnTo>
                  <a:cubicBezTo>
                    <a:pt x="8836" y="2399"/>
                    <a:pt x="8836" y="0"/>
                    <a:pt x="6873" y="0"/>
                  </a:cubicBezTo>
                  <a:lnTo>
                    <a:pt x="1964" y="0"/>
                  </a:lnTo>
                  <a:cubicBezTo>
                    <a:pt x="879" y="0"/>
                    <a:pt x="0" y="1074"/>
                    <a:pt x="0" y="2399"/>
                  </a:cubicBezTo>
                  <a:lnTo>
                    <a:pt x="0" y="19200"/>
                  </a:lnTo>
                  <a:cubicBezTo>
                    <a:pt x="0" y="20526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6"/>
                    <a:pt x="21600" y="19200"/>
                  </a:cubicBezTo>
                  <a:lnTo>
                    <a:pt x="21600" y="4799"/>
                  </a:lnTo>
                  <a:cubicBezTo>
                    <a:pt x="21600" y="3474"/>
                    <a:pt x="20721" y="2399"/>
                    <a:pt x="19636" y="2399"/>
                  </a:cubicBezTo>
                  <a:moveTo>
                    <a:pt x="16200" y="13200"/>
                  </a:moveTo>
                  <a:cubicBezTo>
                    <a:pt x="16471" y="13200"/>
                    <a:pt x="16691" y="13469"/>
                    <a:pt x="16691" y="13800"/>
                  </a:cubicBezTo>
                  <a:cubicBezTo>
                    <a:pt x="16691" y="14132"/>
                    <a:pt x="16471" y="14400"/>
                    <a:pt x="16200" y="14400"/>
                  </a:cubicBezTo>
                  <a:cubicBezTo>
                    <a:pt x="15929" y="14400"/>
                    <a:pt x="15709" y="14132"/>
                    <a:pt x="15709" y="13800"/>
                  </a:cubicBezTo>
                  <a:cubicBezTo>
                    <a:pt x="15709" y="13469"/>
                    <a:pt x="15929" y="13200"/>
                    <a:pt x="16200" y="13200"/>
                  </a:cubicBezTo>
                  <a:moveTo>
                    <a:pt x="16200" y="15600"/>
                  </a:moveTo>
                  <a:cubicBezTo>
                    <a:pt x="17013" y="15600"/>
                    <a:pt x="17673" y="14794"/>
                    <a:pt x="17673" y="13800"/>
                  </a:cubicBezTo>
                  <a:cubicBezTo>
                    <a:pt x="17673" y="12806"/>
                    <a:pt x="17013" y="12000"/>
                    <a:pt x="16200" y="12000"/>
                  </a:cubicBezTo>
                  <a:cubicBezTo>
                    <a:pt x="15387" y="12000"/>
                    <a:pt x="14727" y="12806"/>
                    <a:pt x="14727" y="13800"/>
                  </a:cubicBezTo>
                  <a:cubicBezTo>
                    <a:pt x="14727" y="14794"/>
                    <a:pt x="15387" y="15600"/>
                    <a:pt x="16200" y="15600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32" name="Shape 2622">
              <a:extLst>
                <a:ext uri="{FF2B5EF4-FFF2-40B4-BE49-F238E27FC236}">
                  <a16:creationId xmlns:a16="http://schemas.microsoft.com/office/drawing/2014/main" id="{DE236013-05C5-EE22-4233-D1B8818D4AAF}"/>
                </a:ext>
              </a:extLst>
            </p:cNvPr>
            <p:cNvSpPr/>
            <p:nvPr/>
          </p:nvSpPr>
          <p:spPr>
            <a:xfrm>
              <a:off x="14978100" y="4329848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9" y="17044"/>
                  </a:moveTo>
                  <a:cubicBezTo>
                    <a:pt x="9428" y="17174"/>
                    <a:pt x="9252" y="17274"/>
                    <a:pt x="9050" y="17344"/>
                  </a:cubicBezTo>
                  <a:cubicBezTo>
                    <a:pt x="8849" y="17415"/>
                    <a:pt x="8636" y="17450"/>
                    <a:pt x="8413" y="17450"/>
                  </a:cubicBezTo>
                  <a:cubicBezTo>
                    <a:pt x="7887" y="17450"/>
                    <a:pt x="7488" y="17288"/>
                    <a:pt x="7214" y="16966"/>
                  </a:cubicBezTo>
                  <a:cubicBezTo>
                    <a:pt x="6941" y="16644"/>
                    <a:pt x="6797" y="16226"/>
                    <a:pt x="6782" y="15715"/>
                  </a:cubicBezTo>
                  <a:lnTo>
                    <a:pt x="5864" y="15715"/>
                  </a:lnTo>
                  <a:cubicBezTo>
                    <a:pt x="5857" y="16122"/>
                    <a:pt x="5913" y="16486"/>
                    <a:pt x="6032" y="16805"/>
                  </a:cubicBezTo>
                  <a:cubicBezTo>
                    <a:pt x="6151" y="17123"/>
                    <a:pt x="6321" y="17393"/>
                    <a:pt x="6545" y="17611"/>
                  </a:cubicBezTo>
                  <a:cubicBezTo>
                    <a:pt x="6767" y="17830"/>
                    <a:pt x="7038" y="17995"/>
                    <a:pt x="7355" y="18106"/>
                  </a:cubicBezTo>
                  <a:cubicBezTo>
                    <a:pt x="7671" y="18218"/>
                    <a:pt x="8024" y="18273"/>
                    <a:pt x="8413" y="18273"/>
                  </a:cubicBezTo>
                  <a:cubicBezTo>
                    <a:pt x="8773" y="18273"/>
                    <a:pt x="9113" y="18223"/>
                    <a:pt x="9434" y="18123"/>
                  </a:cubicBezTo>
                  <a:cubicBezTo>
                    <a:pt x="9754" y="18023"/>
                    <a:pt x="10033" y="17873"/>
                    <a:pt x="10271" y="17672"/>
                  </a:cubicBezTo>
                  <a:cubicBezTo>
                    <a:pt x="10509" y="17472"/>
                    <a:pt x="10697" y="17222"/>
                    <a:pt x="10837" y="16922"/>
                  </a:cubicBezTo>
                  <a:cubicBezTo>
                    <a:pt x="10978" y="16621"/>
                    <a:pt x="11048" y="16275"/>
                    <a:pt x="11048" y="15881"/>
                  </a:cubicBezTo>
                  <a:cubicBezTo>
                    <a:pt x="11048" y="15407"/>
                    <a:pt x="10935" y="14995"/>
                    <a:pt x="10708" y="14646"/>
                  </a:cubicBezTo>
                  <a:cubicBezTo>
                    <a:pt x="10481" y="14298"/>
                    <a:pt x="10134" y="14072"/>
                    <a:pt x="9666" y="13968"/>
                  </a:cubicBezTo>
                  <a:lnTo>
                    <a:pt x="9666" y="13946"/>
                  </a:lnTo>
                  <a:cubicBezTo>
                    <a:pt x="9968" y="13805"/>
                    <a:pt x="10220" y="13597"/>
                    <a:pt x="10422" y="13323"/>
                  </a:cubicBezTo>
                  <a:cubicBezTo>
                    <a:pt x="10624" y="13048"/>
                    <a:pt x="10724" y="12734"/>
                    <a:pt x="10724" y="12377"/>
                  </a:cubicBezTo>
                  <a:cubicBezTo>
                    <a:pt x="10724" y="12014"/>
                    <a:pt x="10665" y="11698"/>
                    <a:pt x="10546" y="11432"/>
                  </a:cubicBezTo>
                  <a:cubicBezTo>
                    <a:pt x="10427" y="11165"/>
                    <a:pt x="10263" y="10946"/>
                    <a:pt x="10055" y="10776"/>
                  </a:cubicBezTo>
                  <a:cubicBezTo>
                    <a:pt x="9846" y="10605"/>
                    <a:pt x="9599" y="10477"/>
                    <a:pt x="9315" y="10392"/>
                  </a:cubicBezTo>
                  <a:cubicBezTo>
                    <a:pt x="9030" y="10306"/>
                    <a:pt x="8722" y="10264"/>
                    <a:pt x="8391" y="10264"/>
                  </a:cubicBezTo>
                  <a:cubicBezTo>
                    <a:pt x="8010" y="10264"/>
                    <a:pt x="7673" y="10326"/>
                    <a:pt x="7382" y="10453"/>
                  </a:cubicBezTo>
                  <a:cubicBezTo>
                    <a:pt x="7090" y="10579"/>
                    <a:pt x="6847" y="10753"/>
                    <a:pt x="6653" y="10976"/>
                  </a:cubicBezTo>
                  <a:cubicBezTo>
                    <a:pt x="6459" y="11198"/>
                    <a:pt x="6309" y="11466"/>
                    <a:pt x="6204" y="11777"/>
                  </a:cubicBezTo>
                  <a:cubicBezTo>
                    <a:pt x="6100" y="12088"/>
                    <a:pt x="6040" y="12433"/>
                    <a:pt x="6026" y="12811"/>
                  </a:cubicBezTo>
                  <a:lnTo>
                    <a:pt x="6944" y="12811"/>
                  </a:lnTo>
                  <a:cubicBezTo>
                    <a:pt x="6944" y="12581"/>
                    <a:pt x="6972" y="12363"/>
                    <a:pt x="7031" y="12155"/>
                  </a:cubicBezTo>
                  <a:cubicBezTo>
                    <a:pt x="7088" y="11947"/>
                    <a:pt x="7177" y="11766"/>
                    <a:pt x="7296" y="11610"/>
                  </a:cubicBezTo>
                  <a:cubicBezTo>
                    <a:pt x="7414" y="11454"/>
                    <a:pt x="7565" y="11330"/>
                    <a:pt x="7749" y="11237"/>
                  </a:cubicBezTo>
                  <a:cubicBezTo>
                    <a:pt x="7932" y="11144"/>
                    <a:pt x="8147" y="11098"/>
                    <a:pt x="8391" y="11098"/>
                  </a:cubicBezTo>
                  <a:cubicBezTo>
                    <a:pt x="8780" y="11098"/>
                    <a:pt x="9104" y="11204"/>
                    <a:pt x="9364" y="11415"/>
                  </a:cubicBezTo>
                  <a:cubicBezTo>
                    <a:pt x="9623" y="11627"/>
                    <a:pt x="9752" y="11943"/>
                    <a:pt x="9752" y="12366"/>
                  </a:cubicBezTo>
                  <a:cubicBezTo>
                    <a:pt x="9752" y="12574"/>
                    <a:pt x="9713" y="12759"/>
                    <a:pt x="9634" y="12922"/>
                  </a:cubicBezTo>
                  <a:cubicBezTo>
                    <a:pt x="9554" y="13086"/>
                    <a:pt x="9448" y="13221"/>
                    <a:pt x="9315" y="13329"/>
                  </a:cubicBezTo>
                  <a:cubicBezTo>
                    <a:pt x="9182" y="13436"/>
                    <a:pt x="9027" y="13517"/>
                    <a:pt x="8851" y="13574"/>
                  </a:cubicBezTo>
                  <a:cubicBezTo>
                    <a:pt x="8674" y="13629"/>
                    <a:pt x="8488" y="13657"/>
                    <a:pt x="8294" y="13657"/>
                  </a:cubicBezTo>
                  <a:lnTo>
                    <a:pt x="7992" y="13657"/>
                  </a:lnTo>
                  <a:cubicBezTo>
                    <a:pt x="7963" y="13657"/>
                    <a:pt x="7930" y="13653"/>
                    <a:pt x="7895" y="13645"/>
                  </a:cubicBezTo>
                  <a:lnTo>
                    <a:pt x="7895" y="14447"/>
                  </a:lnTo>
                  <a:cubicBezTo>
                    <a:pt x="8067" y="14424"/>
                    <a:pt x="8251" y="14413"/>
                    <a:pt x="8445" y="14413"/>
                  </a:cubicBezTo>
                  <a:cubicBezTo>
                    <a:pt x="8676" y="14413"/>
                    <a:pt x="8890" y="14444"/>
                    <a:pt x="9088" y="14507"/>
                  </a:cubicBezTo>
                  <a:cubicBezTo>
                    <a:pt x="9286" y="14571"/>
                    <a:pt x="9457" y="14667"/>
                    <a:pt x="9601" y="14797"/>
                  </a:cubicBezTo>
                  <a:cubicBezTo>
                    <a:pt x="9745" y="14927"/>
                    <a:pt x="9860" y="15086"/>
                    <a:pt x="9947" y="15275"/>
                  </a:cubicBezTo>
                  <a:cubicBezTo>
                    <a:pt x="10033" y="15464"/>
                    <a:pt x="10076" y="15682"/>
                    <a:pt x="10076" y="15926"/>
                  </a:cubicBezTo>
                  <a:cubicBezTo>
                    <a:pt x="10076" y="16163"/>
                    <a:pt x="10031" y="16377"/>
                    <a:pt x="9941" y="16565"/>
                  </a:cubicBezTo>
                  <a:cubicBezTo>
                    <a:pt x="9851" y="16754"/>
                    <a:pt x="9731" y="16914"/>
                    <a:pt x="9579" y="17044"/>
                  </a:cubicBezTo>
                  <a:moveTo>
                    <a:pt x="14257" y="18151"/>
                  </a:moveTo>
                  <a:lnTo>
                    <a:pt x="15175" y="18151"/>
                  </a:lnTo>
                  <a:lnTo>
                    <a:pt x="15175" y="10264"/>
                  </a:lnTo>
                  <a:lnTo>
                    <a:pt x="14473" y="10264"/>
                  </a:lnTo>
                  <a:cubicBezTo>
                    <a:pt x="14422" y="10561"/>
                    <a:pt x="14329" y="10805"/>
                    <a:pt x="14192" y="10998"/>
                  </a:cubicBezTo>
                  <a:cubicBezTo>
                    <a:pt x="14055" y="11191"/>
                    <a:pt x="13888" y="11343"/>
                    <a:pt x="13690" y="11454"/>
                  </a:cubicBezTo>
                  <a:cubicBezTo>
                    <a:pt x="13492" y="11565"/>
                    <a:pt x="13271" y="11641"/>
                    <a:pt x="13026" y="11682"/>
                  </a:cubicBezTo>
                  <a:cubicBezTo>
                    <a:pt x="12781" y="11723"/>
                    <a:pt x="12529" y="11743"/>
                    <a:pt x="12270" y="11743"/>
                  </a:cubicBezTo>
                  <a:lnTo>
                    <a:pt x="12270" y="12499"/>
                  </a:lnTo>
                  <a:lnTo>
                    <a:pt x="14257" y="12499"/>
                  </a:lnTo>
                  <a:cubicBezTo>
                    <a:pt x="14257" y="12499"/>
                    <a:pt x="14257" y="18151"/>
                    <a:pt x="14257" y="18151"/>
                  </a:cubicBezTo>
                  <a:close/>
                  <a:moveTo>
                    <a:pt x="20618" y="6873"/>
                  </a:moveTo>
                  <a:lnTo>
                    <a:pt x="982" y="6873"/>
                  </a:lnTo>
                  <a:lnTo>
                    <a:pt x="982" y="3928"/>
                  </a:lnTo>
                  <a:cubicBezTo>
                    <a:pt x="982" y="3385"/>
                    <a:pt x="1421" y="2945"/>
                    <a:pt x="1964" y="2945"/>
                  </a:cubicBezTo>
                  <a:lnTo>
                    <a:pt x="3927" y="2945"/>
                  </a:lnTo>
                  <a:lnTo>
                    <a:pt x="3927" y="4418"/>
                  </a:lnTo>
                  <a:cubicBezTo>
                    <a:pt x="3927" y="4690"/>
                    <a:pt x="4147" y="4909"/>
                    <a:pt x="4418" y="4909"/>
                  </a:cubicBezTo>
                  <a:cubicBezTo>
                    <a:pt x="4690" y="4909"/>
                    <a:pt x="4909" y="4690"/>
                    <a:pt x="4909" y="4418"/>
                  </a:cubicBezTo>
                  <a:lnTo>
                    <a:pt x="4909" y="2945"/>
                  </a:lnTo>
                  <a:lnTo>
                    <a:pt x="16691" y="2945"/>
                  </a:lnTo>
                  <a:lnTo>
                    <a:pt x="16691" y="4418"/>
                  </a:lnTo>
                  <a:cubicBezTo>
                    <a:pt x="16691" y="4690"/>
                    <a:pt x="16910" y="4909"/>
                    <a:pt x="17182" y="4909"/>
                  </a:cubicBezTo>
                  <a:cubicBezTo>
                    <a:pt x="17453" y="4909"/>
                    <a:pt x="17673" y="4690"/>
                    <a:pt x="17673" y="4418"/>
                  </a:cubicBezTo>
                  <a:lnTo>
                    <a:pt x="17673" y="2945"/>
                  </a:lnTo>
                  <a:lnTo>
                    <a:pt x="19636" y="2945"/>
                  </a:lnTo>
                  <a:cubicBezTo>
                    <a:pt x="20179" y="2945"/>
                    <a:pt x="20618" y="3385"/>
                    <a:pt x="20618" y="3928"/>
                  </a:cubicBezTo>
                  <a:cubicBezTo>
                    <a:pt x="20618" y="3928"/>
                    <a:pt x="20618" y="6873"/>
                    <a:pt x="20618" y="6873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9"/>
                    <a:pt x="982" y="19636"/>
                  </a:cubicBez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9636" y="1964"/>
                  </a:moveTo>
                  <a:lnTo>
                    <a:pt x="17673" y="1964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1964"/>
                  </a:lnTo>
                  <a:lnTo>
                    <a:pt x="4909" y="1964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1964"/>
                  </a:lnTo>
                  <a:lnTo>
                    <a:pt x="1964" y="1964"/>
                  </a:lnTo>
                  <a:cubicBezTo>
                    <a:pt x="879" y="1964"/>
                    <a:pt x="0" y="2843"/>
                    <a:pt x="0" y="3928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8"/>
                  </a:lnTo>
                  <a:cubicBezTo>
                    <a:pt x="21600" y="2843"/>
                    <a:pt x="20721" y="1964"/>
                    <a:pt x="19636" y="1964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42" name="Shape 2632">
              <a:extLst>
                <a:ext uri="{FF2B5EF4-FFF2-40B4-BE49-F238E27FC236}">
                  <a16:creationId xmlns:a16="http://schemas.microsoft.com/office/drawing/2014/main" id="{FE7DA01A-3583-CDBB-3B55-44594A6CDDE6}"/>
                </a:ext>
              </a:extLst>
            </p:cNvPr>
            <p:cNvSpPr/>
            <p:nvPr/>
          </p:nvSpPr>
          <p:spPr>
            <a:xfrm>
              <a:off x="15016200" y="5129863"/>
              <a:ext cx="342901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4588" y="17673"/>
                    <a:pt x="1200" y="16051"/>
                    <a:pt x="1200" y="15218"/>
                  </a:cubicBezTo>
                  <a:cubicBezTo>
                    <a:pt x="1200" y="14690"/>
                    <a:pt x="1355" y="14275"/>
                    <a:pt x="1611" y="13896"/>
                  </a:cubicBezTo>
                  <a:cubicBezTo>
                    <a:pt x="3255" y="14967"/>
                    <a:pt x="6746" y="15709"/>
                    <a:pt x="10800" y="15709"/>
                  </a:cubicBezTo>
                  <a:cubicBezTo>
                    <a:pt x="14856" y="15709"/>
                    <a:pt x="18345" y="14966"/>
                    <a:pt x="19987" y="13894"/>
                  </a:cubicBezTo>
                  <a:cubicBezTo>
                    <a:pt x="20244" y="14273"/>
                    <a:pt x="20400" y="14689"/>
                    <a:pt x="20400" y="15218"/>
                  </a:cubicBezTo>
                  <a:cubicBezTo>
                    <a:pt x="20400" y="16051"/>
                    <a:pt x="17011" y="17673"/>
                    <a:pt x="10800" y="17673"/>
                  </a:cubicBezTo>
                  <a:moveTo>
                    <a:pt x="10800" y="20618"/>
                  </a:moveTo>
                  <a:cubicBezTo>
                    <a:pt x="9475" y="20618"/>
                    <a:pt x="8400" y="19739"/>
                    <a:pt x="8400" y="18655"/>
                  </a:cubicBezTo>
                  <a:cubicBezTo>
                    <a:pt x="8400" y="18625"/>
                    <a:pt x="8408" y="18597"/>
                    <a:pt x="8409" y="18567"/>
                  </a:cubicBezTo>
                  <a:cubicBezTo>
                    <a:pt x="9179" y="18623"/>
                    <a:pt x="9977" y="18655"/>
                    <a:pt x="10800" y="18655"/>
                  </a:cubicBezTo>
                  <a:cubicBezTo>
                    <a:pt x="11623" y="18655"/>
                    <a:pt x="12421" y="18623"/>
                    <a:pt x="13191" y="18567"/>
                  </a:cubicBezTo>
                  <a:cubicBezTo>
                    <a:pt x="13192" y="18597"/>
                    <a:pt x="13200" y="18625"/>
                    <a:pt x="13200" y="18655"/>
                  </a:cubicBezTo>
                  <a:cubicBezTo>
                    <a:pt x="13200" y="19739"/>
                    <a:pt x="12125" y="20618"/>
                    <a:pt x="10800" y="20618"/>
                  </a:cubicBezTo>
                  <a:moveTo>
                    <a:pt x="2948" y="12551"/>
                  </a:moveTo>
                  <a:cubicBezTo>
                    <a:pt x="4308" y="11388"/>
                    <a:pt x="6000" y="9939"/>
                    <a:pt x="6000" y="6873"/>
                  </a:cubicBezTo>
                  <a:cubicBezTo>
                    <a:pt x="6000" y="5232"/>
                    <a:pt x="7238" y="3825"/>
                    <a:pt x="8988" y="3239"/>
                  </a:cubicBezTo>
                  <a:cubicBezTo>
                    <a:pt x="9428" y="3657"/>
                    <a:pt x="10072" y="3927"/>
                    <a:pt x="10800" y="3927"/>
                  </a:cubicBezTo>
                  <a:cubicBezTo>
                    <a:pt x="11528" y="3927"/>
                    <a:pt x="12172" y="3657"/>
                    <a:pt x="12611" y="3239"/>
                  </a:cubicBezTo>
                  <a:cubicBezTo>
                    <a:pt x="14362" y="3825"/>
                    <a:pt x="15600" y="5232"/>
                    <a:pt x="15600" y="6873"/>
                  </a:cubicBezTo>
                  <a:cubicBezTo>
                    <a:pt x="15600" y="9939"/>
                    <a:pt x="17292" y="11388"/>
                    <a:pt x="18652" y="12551"/>
                  </a:cubicBezTo>
                  <a:cubicBezTo>
                    <a:pt x="18911" y="12773"/>
                    <a:pt x="19152" y="12979"/>
                    <a:pt x="19366" y="13183"/>
                  </a:cubicBezTo>
                  <a:cubicBezTo>
                    <a:pt x="18217" y="14077"/>
                    <a:pt x="14825" y="14727"/>
                    <a:pt x="10800" y="14727"/>
                  </a:cubicBezTo>
                  <a:cubicBezTo>
                    <a:pt x="6779" y="14727"/>
                    <a:pt x="3383" y="14079"/>
                    <a:pt x="2230" y="13186"/>
                  </a:cubicBezTo>
                  <a:cubicBezTo>
                    <a:pt x="2446" y="12981"/>
                    <a:pt x="2687" y="12774"/>
                    <a:pt x="2948" y="12551"/>
                  </a:cubicBezTo>
                  <a:moveTo>
                    <a:pt x="10800" y="982"/>
                  </a:moveTo>
                  <a:cubicBezTo>
                    <a:pt x="11462" y="982"/>
                    <a:pt x="12000" y="1422"/>
                    <a:pt x="12000" y="1964"/>
                  </a:cubicBezTo>
                  <a:cubicBezTo>
                    <a:pt x="12000" y="2506"/>
                    <a:pt x="11462" y="2945"/>
                    <a:pt x="10800" y="2945"/>
                  </a:cubicBezTo>
                  <a:cubicBezTo>
                    <a:pt x="10138" y="2945"/>
                    <a:pt x="9600" y="2506"/>
                    <a:pt x="9600" y="1964"/>
                  </a:cubicBezTo>
                  <a:cubicBezTo>
                    <a:pt x="9600" y="1422"/>
                    <a:pt x="10138" y="982"/>
                    <a:pt x="10800" y="982"/>
                  </a:cubicBezTo>
                  <a:moveTo>
                    <a:pt x="21600" y="15218"/>
                  </a:moveTo>
                  <a:cubicBezTo>
                    <a:pt x="21600" y="11782"/>
                    <a:pt x="16800" y="11782"/>
                    <a:pt x="16800" y="6873"/>
                  </a:cubicBezTo>
                  <a:cubicBezTo>
                    <a:pt x="16800" y="4845"/>
                    <a:pt x="15296" y="3105"/>
                    <a:pt x="13152" y="2356"/>
                  </a:cubicBezTo>
                  <a:cubicBezTo>
                    <a:pt x="13183" y="2229"/>
                    <a:pt x="13200" y="2098"/>
                    <a:pt x="13200" y="1964"/>
                  </a:cubicBezTo>
                  <a:cubicBezTo>
                    <a:pt x="13200" y="879"/>
                    <a:pt x="12125" y="0"/>
                    <a:pt x="10800" y="0"/>
                  </a:cubicBezTo>
                  <a:cubicBezTo>
                    <a:pt x="9475" y="0"/>
                    <a:pt x="8400" y="879"/>
                    <a:pt x="8400" y="1964"/>
                  </a:cubicBezTo>
                  <a:cubicBezTo>
                    <a:pt x="8400" y="2098"/>
                    <a:pt x="8417" y="2229"/>
                    <a:pt x="8448" y="2356"/>
                  </a:cubicBezTo>
                  <a:cubicBezTo>
                    <a:pt x="6304" y="3105"/>
                    <a:pt x="4800" y="4845"/>
                    <a:pt x="4800" y="6873"/>
                  </a:cubicBezTo>
                  <a:cubicBezTo>
                    <a:pt x="4800" y="11782"/>
                    <a:pt x="0" y="11782"/>
                    <a:pt x="0" y="15218"/>
                  </a:cubicBezTo>
                  <a:cubicBezTo>
                    <a:pt x="0" y="16716"/>
                    <a:pt x="3016" y="17986"/>
                    <a:pt x="7217" y="18457"/>
                  </a:cubicBezTo>
                  <a:cubicBezTo>
                    <a:pt x="7211" y="18523"/>
                    <a:pt x="7200" y="18587"/>
                    <a:pt x="7200" y="18655"/>
                  </a:cubicBezTo>
                  <a:cubicBezTo>
                    <a:pt x="7200" y="20282"/>
                    <a:pt x="8812" y="21600"/>
                    <a:pt x="10800" y="21600"/>
                  </a:cubicBezTo>
                  <a:cubicBezTo>
                    <a:pt x="12788" y="21600"/>
                    <a:pt x="14400" y="20282"/>
                    <a:pt x="14400" y="18655"/>
                  </a:cubicBezTo>
                  <a:cubicBezTo>
                    <a:pt x="14400" y="18587"/>
                    <a:pt x="14389" y="18523"/>
                    <a:pt x="14383" y="18457"/>
                  </a:cubicBezTo>
                  <a:cubicBezTo>
                    <a:pt x="18584" y="17986"/>
                    <a:pt x="21600" y="16716"/>
                    <a:pt x="21600" y="15218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88" name="Shape 2868">
              <a:extLst>
                <a:ext uri="{FF2B5EF4-FFF2-40B4-BE49-F238E27FC236}">
                  <a16:creationId xmlns:a16="http://schemas.microsoft.com/office/drawing/2014/main" id="{62B932A3-8F3A-06F1-0C07-1201FF334758}"/>
                </a:ext>
              </a:extLst>
            </p:cNvPr>
            <p:cNvSpPr/>
            <p:nvPr/>
          </p:nvSpPr>
          <p:spPr>
            <a:xfrm>
              <a:off x="14978100" y="6927417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3062" y="5890"/>
                  </a:moveTo>
                  <a:lnTo>
                    <a:pt x="10786" y="7776"/>
                  </a:lnTo>
                  <a:lnTo>
                    <a:pt x="13925" y="9725"/>
                  </a:lnTo>
                  <a:lnTo>
                    <a:pt x="16200" y="7926"/>
                  </a:lnTo>
                  <a:cubicBezTo>
                    <a:pt x="16200" y="7926"/>
                    <a:pt x="13062" y="5890"/>
                    <a:pt x="13062" y="5890"/>
                  </a:cubicBezTo>
                  <a:close/>
                  <a:moveTo>
                    <a:pt x="5400" y="8027"/>
                  </a:moveTo>
                  <a:lnTo>
                    <a:pt x="7647" y="9763"/>
                  </a:lnTo>
                  <a:lnTo>
                    <a:pt x="10786" y="7776"/>
                  </a:lnTo>
                  <a:lnTo>
                    <a:pt x="8630" y="5891"/>
                  </a:lnTo>
                  <a:cubicBezTo>
                    <a:pt x="8630" y="5891"/>
                    <a:pt x="5400" y="8027"/>
                    <a:pt x="5400" y="8027"/>
                  </a:cubicBezTo>
                  <a:close/>
                  <a:moveTo>
                    <a:pt x="12965" y="14699"/>
                  </a:moveTo>
                  <a:lnTo>
                    <a:pt x="12958" y="14707"/>
                  </a:lnTo>
                  <a:lnTo>
                    <a:pt x="10801" y="13100"/>
                  </a:lnTo>
                  <a:lnTo>
                    <a:pt x="8731" y="14685"/>
                  </a:lnTo>
                  <a:lnTo>
                    <a:pt x="8712" y="14715"/>
                  </a:lnTo>
                  <a:lnTo>
                    <a:pt x="7571" y="14025"/>
                  </a:lnTo>
                  <a:lnTo>
                    <a:pt x="7571" y="14627"/>
                  </a:lnTo>
                  <a:lnTo>
                    <a:pt x="10799" y="16692"/>
                  </a:lnTo>
                  <a:lnTo>
                    <a:pt x="14000" y="14627"/>
                  </a:lnTo>
                  <a:lnTo>
                    <a:pt x="14000" y="14067"/>
                  </a:lnTo>
                  <a:lnTo>
                    <a:pt x="12965" y="14699"/>
                  </a:lnTo>
                  <a:cubicBezTo>
                    <a:pt x="12965" y="14699"/>
                    <a:pt x="12965" y="14699"/>
                    <a:pt x="12965" y="14699"/>
                  </a:cubicBezTo>
                  <a:close/>
                  <a:moveTo>
                    <a:pt x="7642" y="9766"/>
                  </a:moveTo>
                  <a:lnTo>
                    <a:pt x="5404" y="11577"/>
                  </a:lnTo>
                  <a:lnTo>
                    <a:pt x="7350" y="12746"/>
                  </a:lnTo>
                  <a:lnTo>
                    <a:pt x="7351" y="12745"/>
                  </a:lnTo>
                  <a:lnTo>
                    <a:pt x="7775" y="13002"/>
                  </a:lnTo>
                  <a:lnTo>
                    <a:pt x="8631" y="13516"/>
                  </a:lnTo>
                  <a:lnTo>
                    <a:pt x="10063" y="12429"/>
                  </a:lnTo>
                  <a:lnTo>
                    <a:pt x="10780" y="11880"/>
                  </a:lnTo>
                  <a:lnTo>
                    <a:pt x="10782" y="11882"/>
                  </a:lnTo>
                  <a:lnTo>
                    <a:pt x="10786" y="11880"/>
                  </a:lnTo>
                  <a:lnTo>
                    <a:pt x="10798" y="11888"/>
                  </a:lnTo>
                  <a:lnTo>
                    <a:pt x="10805" y="11880"/>
                  </a:lnTo>
                  <a:lnTo>
                    <a:pt x="12509" y="13148"/>
                  </a:lnTo>
                  <a:lnTo>
                    <a:pt x="13007" y="13515"/>
                  </a:lnTo>
                  <a:lnTo>
                    <a:pt x="16198" y="11575"/>
                  </a:lnTo>
                  <a:lnTo>
                    <a:pt x="13925" y="9727"/>
                  </a:lnTo>
                  <a:lnTo>
                    <a:pt x="10788" y="11715"/>
                  </a:lnTo>
                  <a:cubicBezTo>
                    <a:pt x="10788" y="11715"/>
                    <a:pt x="7642" y="9766"/>
                    <a:pt x="7642" y="9766"/>
                  </a:cubicBezTo>
                  <a:close/>
                  <a:moveTo>
                    <a:pt x="13925" y="9727"/>
                  </a:moveTo>
                  <a:lnTo>
                    <a:pt x="13925" y="9725"/>
                  </a:lnTo>
                  <a:lnTo>
                    <a:pt x="13925" y="9725"/>
                  </a:lnTo>
                  <a:lnTo>
                    <a:pt x="13924" y="9725"/>
                  </a:lnTo>
                  <a:cubicBezTo>
                    <a:pt x="13924" y="9725"/>
                    <a:pt x="13925" y="9727"/>
                    <a:pt x="13925" y="9727"/>
                  </a:cubicBezTo>
                  <a:close/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98" name="Shape 2878">
              <a:extLst>
                <a:ext uri="{FF2B5EF4-FFF2-40B4-BE49-F238E27FC236}">
                  <a16:creationId xmlns:a16="http://schemas.microsoft.com/office/drawing/2014/main" id="{FFDE935C-BA29-E9FD-270A-844827A77D66}"/>
                </a:ext>
              </a:extLst>
            </p:cNvPr>
            <p:cNvSpPr/>
            <p:nvPr/>
          </p:nvSpPr>
          <p:spPr>
            <a:xfrm>
              <a:off x="14978100" y="7727432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430" y="9321"/>
                  </a:moveTo>
                  <a:cubicBezTo>
                    <a:pt x="11975" y="9321"/>
                    <a:pt x="11780" y="10196"/>
                    <a:pt x="11780" y="10196"/>
                  </a:cubicBezTo>
                  <a:lnTo>
                    <a:pt x="11782" y="9327"/>
                  </a:lnTo>
                  <a:lnTo>
                    <a:pt x="9818" y="9327"/>
                  </a:lnTo>
                  <a:lnTo>
                    <a:pt x="9818" y="14727"/>
                  </a:lnTo>
                  <a:lnTo>
                    <a:pt x="11782" y="14727"/>
                  </a:lnTo>
                  <a:lnTo>
                    <a:pt x="11782" y="11782"/>
                  </a:lnTo>
                  <a:cubicBezTo>
                    <a:pt x="11782" y="11782"/>
                    <a:pt x="11782" y="10793"/>
                    <a:pt x="12616" y="10793"/>
                  </a:cubicBezTo>
                  <a:cubicBezTo>
                    <a:pt x="13086" y="10793"/>
                    <a:pt x="13255" y="11232"/>
                    <a:pt x="13255" y="11782"/>
                  </a:cubicBezTo>
                  <a:lnTo>
                    <a:pt x="13255" y="14727"/>
                  </a:lnTo>
                  <a:lnTo>
                    <a:pt x="15218" y="14727"/>
                  </a:lnTo>
                  <a:lnTo>
                    <a:pt x="15218" y="11782"/>
                  </a:lnTo>
                  <a:cubicBezTo>
                    <a:pt x="15218" y="10245"/>
                    <a:pt x="14550" y="9321"/>
                    <a:pt x="13430" y="9321"/>
                  </a:cubicBezTo>
                  <a:moveTo>
                    <a:pt x="6873" y="14727"/>
                  </a:moveTo>
                  <a:lnTo>
                    <a:pt x="8829" y="14727"/>
                  </a:lnTo>
                  <a:lnTo>
                    <a:pt x="8829" y="9321"/>
                  </a:lnTo>
                  <a:lnTo>
                    <a:pt x="6873" y="9321"/>
                  </a:lnTo>
                  <a:cubicBezTo>
                    <a:pt x="6873" y="9321"/>
                    <a:pt x="6873" y="14727"/>
                    <a:pt x="6873" y="14727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7851" y="6873"/>
                  </a:moveTo>
                  <a:cubicBezTo>
                    <a:pt x="7311" y="6873"/>
                    <a:pt x="6873" y="7313"/>
                    <a:pt x="6873" y="7856"/>
                  </a:cubicBezTo>
                  <a:cubicBezTo>
                    <a:pt x="6873" y="8399"/>
                    <a:pt x="7311" y="8839"/>
                    <a:pt x="7851" y="8839"/>
                  </a:cubicBezTo>
                  <a:cubicBezTo>
                    <a:pt x="8391" y="8839"/>
                    <a:pt x="8829" y="8399"/>
                    <a:pt x="8829" y="7856"/>
                  </a:cubicBezTo>
                  <a:cubicBezTo>
                    <a:pt x="8829" y="7313"/>
                    <a:pt x="8391" y="6873"/>
                    <a:pt x="7851" y="6873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408" name="Shape 2888">
              <a:extLst>
                <a:ext uri="{FF2B5EF4-FFF2-40B4-BE49-F238E27FC236}">
                  <a16:creationId xmlns:a16="http://schemas.microsoft.com/office/drawing/2014/main" id="{1F40A20F-B411-5598-81AE-87C4138396DF}"/>
                </a:ext>
              </a:extLst>
            </p:cNvPr>
            <p:cNvSpPr/>
            <p:nvPr/>
          </p:nvSpPr>
          <p:spPr>
            <a:xfrm>
              <a:off x="15016200" y="8527447"/>
              <a:ext cx="342901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36" y="15709"/>
                  </a:moveTo>
                  <a:lnTo>
                    <a:pt x="13945" y="15709"/>
                  </a:lnTo>
                  <a:lnTo>
                    <a:pt x="13945" y="14144"/>
                  </a:lnTo>
                  <a:lnTo>
                    <a:pt x="15543" y="14144"/>
                  </a:lnTo>
                  <a:lnTo>
                    <a:pt x="15543" y="13428"/>
                  </a:lnTo>
                  <a:lnTo>
                    <a:pt x="13945" y="13428"/>
                  </a:lnTo>
                  <a:lnTo>
                    <a:pt x="13945" y="12538"/>
                  </a:lnTo>
                  <a:lnTo>
                    <a:pt x="15655" y="12538"/>
                  </a:lnTo>
                  <a:lnTo>
                    <a:pt x="15655" y="11816"/>
                  </a:lnTo>
                  <a:lnTo>
                    <a:pt x="12936" y="11816"/>
                  </a:lnTo>
                  <a:cubicBezTo>
                    <a:pt x="12936" y="11816"/>
                    <a:pt x="12936" y="15709"/>
                    <a:pt x="12936" y="15709"/>
                  </a:cubicBezTo>
                  <a:close/>
                  <a:moveTo>
                    <a:pt x="14400" y="5891"/>
                  </a:moveTo>
                  <a:lnTo>
                    <a:pt x="14400" y="982"/>
                  </a:lnTo>
                  <a:lnTo>
                    <a:pt x="15000" y="982"/>
                  </a:lnTo>
                  <a:lnTo>
                    <a:pt x="20400" y="5891"/>
                  </a:lnTo>
                  <a:cubicBezTo>
                    <a:pt x="20400" y="5891"/>
                    <a:pt x="14400" y="5891"/>
                    <a:pt x="14400" y="5891"/>
                  </a:cubicBezTo>
                  <a:close/>
                  <a:moveTo>
                    <a:pt x="20400" y="19636"/>
                  </a:moveTo>
                  <a:cubicBezTo>
                    <a:pt x="20400" y="20179"/>
                    <a:pt x="19863" y="20618"/>
                    <a:pt x="19200" y="20618"/>
                  </a:cubicBezTo>
                  <a:lnTo>
                    <a:pt x="2400" y="20618"/>
                  </a:lnTo>
                  <a:cubicBezTo>
                    <a:pt x="1737" y="20618"/>
                    <a:pt x="1200" y="20179"/>
                    <a:pt x="1200" y="19636"/>
                  </a:cubicBezTo>
                  <a:lnTo>
                    <a:pt x="1200" y="1964"/>
                  </a:lnTo>
                  <a:cubicBezTo>
                    <a:pt x="1200" y="1421"/>
                    <a:pt x="1737" y="982"/>
                    <a:pt x="2400" y="982"/>
                  </a:cubicBezTo>
                  <a:lnTo>
                    <a:pt x="13200" y="982"/>
                  </a:lnTo>
                  <a:lnTo>
                    <a:pt x="13200" y="5891"/>
                  </a:lnTo>
                  <a:cubicBezTo>
                    <a:pt x="13200" y="6433"/>
                    <a:pt x="13737" y="6872"/>
                    <a:pt x="14400" y="6872"/>
                  </a:cubicBezTo>
                  <a:lnTo>
                    <a:pt x="20400" y="6872"/>
                  </a:lnTo>
                  <a:cubicBezTo>
                    <a:pt x="20400" y="6872"/>
                    <a:pt x="20400" y="19636"/>
                    <a:pt x="20400" y="19636"/>
                  </a:cubicBezTo>
                  <a:close/>
                  <a:moveTo>
                    <a:pt x="156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5400"/>
                  </a:lnTo>
                  <a:cubicBezTo>
                    <a:pt x="21600" y="5400"/>
                    <a:pt x="15600" y="0"/>
                    <a:pt x="15600" y="0"/>
                  </a:cubicBezTo>
                  <a:close/>
                  <a:moveTo>
                    <a:pt x="11136" y="15709"/>
                  </a:moveTo>
                  <a:lnTo>
                    <a:pt x="12145" y="15709"/>
                  </a:lnTo>
                  <a:lnTo>
                    <a:pt x="12145" y="11816"/>
                  </a:lnTo>
                  <a:lnTo>
                    <a:pt x="11136" y="11816"/>
                  </a:lnTo>
                  <a:cubicBezTo>
                    <a:pt x="11136" y="11816"/>
                    <a:pt x="11136" y="15709"/>
                    <a:pt x="11136" y="15709"/>
                  </a:cubicBezTo>
                  <a:close/>
                  <a:moveTo>
                    <a:pt x="8395" y="14167"/>
                  </a:moveTo>
                  <a:lnTo>
                    <a:pt x="9082" y="14167"/>
                  </a:lnTo>
                  <a:lnTo>
                    <a:pt x="9082" y="14981"/>
                  </a:lnTo>
                  <a:cubicBezTo>
                    <a:pt x="9002" y="15015"/>
                    <a:pt x="8818" y="15039"/>
                    <a:pt x="8586" y="15039"/>
                  </a:cubicBezTo>
                  <a:cubicBezTo>
                    <a:pt x="7761" y="15039"/>
                    <a:pt x="7187" y="14565"/>
                    <a:pt x="7187" y="13762"/>
                  </a:cubicBezTo>
                  <a:cubicBezTo>
                    <a:pt x="7187" y="12919"/>
                    <a:pt x="7821" y="12503"/>
                    <a:pt x="8659" y="12503"/>
                  </a:cubicBezTo>
                  <a:cubicBezTo>
                    <a:pt x="9148" y="12503"/>
                    <a:pt x="9451" y="12579"/>
                    <a:pt x="9696" y="12672"/>
                  </a:cubicBezTo>
                  <a:lnTo>
                    <a:pt x="9907" y="11966"/>
                  </a:lnTo>
                  <a:cubicBezTo>
                    <a:pt x="9689" y="11874"/>
                    <a:pt x="9247" y="11776"/>
                    <a:pt x="8672" y="11776"/>
                  </a:cubicBezTo>
                  <a:cubicBezTo>
                    <a:pt x="7213" y="11776"/>
                    <a:pt x="6138" y="12515"/>
                    <a:pt x="6131" y="13809"/>
                  </a:cubicBezTo>
                  <a:cubicBezTo>
                    <a:pt x="6124" y="14381"/>
                    <a:pt x="6349" y="14888"/>
                    <a:pt x="6758" y="15223"/>
                  </a:cubicBezTo>
                  <a:cubicBezTo>
                    <a:pt x="7167" y="15570"/>
                    <a:pt x="7755" y="15749"/>
                    <a:pt x="8566" y="15749"/>
                  </a:cubicBezTo>
                  <a:cubicBezTo>
                    <a:pt x="9155" y="15749"/>
                    <a:pt x="9742" y="15622"/>
                    <a:pt x="10052" y="15530"/>
                  </a:cubicBezTo>
                  <a:lnTo>
                    <a:pt x="10052" y="13479"/>
                  </a:lnTo>
                  <a:lnTo>
                    <a:pt x="8395" y="13479"/>
                  </a:lnTo>
                  <a:cubicBezTo>
                    <a:pt x="8395" y="13479"/>
                    <a:pt x="8395" y="14167"/>
                    <a:pt x="8395" y="14167"/>
                  </a:cubicBezTo>
                  <a:close/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0B024B4-0812-26DD-C8F6-64CFA9C58327}"/>
              </a:ext>
            </a:extLst>
          </p:cNvPr>
          <p:cNvGrpSpPr/>
          <p:nvPr/>
        </p:nvGrpSpPr>
        <p:grpSpPr>
          <a:xfrm>
            <a:off x="15778200" y="1929802"/>
            <a:ext cx="419100" cy="7016701"/>
            <a:chOff x="15778200" y="1929802"/>
            <a:chExt cx="419100" cy="7016701"/>
          </a:xfrm>
        </p:grpSpPr>
        <p:sp>
          <p:nvSpPr>
            <p:cNvPr id="175" name="Shape 2593">
              <a:extLst>
                <a:ext uri="{FF2B5EF4-FFF2-40B4-BE49-F238E27FC236}">
                  <a16:creationId xmlns:a16="http://schemas.microsoft.com/office/drawing/2014/main" id="{C3840BBE-9FED-6293-013B-371FFE4334E5}"/>
                </a:ext>
              </a:extLst>
            </p:cNvPr>
            <p:cNvSpPr/>
            <p:nvPr/>
          </p:nvSpPr>
          <p:spPr>
            <a:xfrm>
              <a:off x="15778200" y="1929802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8095"/>
                  </a:moveTo>
                  <a:lnTo>
                    <a:pt x="20091" y="8640"/>
                  </a:lnTo>
                  <a:cubicBezTo>
                    <a:pt x="19294" y="8426"/>
                    <a:pt x="18482" y="8322"/>
                    <a:pt x="17675" y="8322"/>
                  </a:cubicBezTo>
                  <a:lnTo>
                    <a:pt x="17150" y="7377"/>
                  </a:lnTo>
                  <a:cubicBezTo>
                    <a:pt x="17052" y="7203"/>
                    <a:pt x="16911" y="7035"/>
                    <a:pt x="16741" y="6937"/>
                  </a:cubicBezTo>
                  <a:cubicBezTo>
                    <a:pt x="16601" y="6856"/>
                    <a:pt x="16442" y="6822"/>
                    <a:pt x="16268" y="6868"/>
                  </a:cubicBezTo>
                  <a:lnTo>
                    <a:pt x="13487" y="7613"/>
                  </a:lnTo>
                  <a:cubicBezTo>
                    <a:pt x="13102" y="7716"/>
                    <a:pt x="12995" y="8125"/>
                    <a:pt x="12977" y="8495"/>
                  </a:cubicBezTo>
                  <a:lnTo>
                    <a:pt x="12996" y="9570"/>
                  </a:lnTo>
                  <a:cubicBezTo>
                    <a:pt x="12293" y="9973"/>
                    <a:pt x="11639" y="10471"/>
                    <a:pt x="11053" y="11057"/>
                  </a:cubicBezTo>
                  <a:lnTo>
                    <a:pt x="10023" y="10762"/>
                  </a:lnTo>
                  <a:cubicBezTo>
                    <a:pt x="9673" y="10664"/>
                    <a:pt x="9239" y="10682"/>
                    <a:pt x="9040" y="11026"/>
                  </a:cubicBezTo>
                  <a:lnTo>
                    <a:pt x="7600" y="13520"/>
                  </a:lnTo>
                  <a:cubicBezTo>
                    <a:pt x="7401" y="13864"/>
                    <a:pt x="7614" y="14229"/>
                    <a:pt x="7863" y="14504"/>
                  </a:cubicBezTo>
                  <a:lnTo>
                    <a:pt x="8633" y="15248"/>
                  </a:lnTo>
                  <a:cubicBezTo>
                    <a:pt x="8419" y="16049"/>
                    <a:pt x="8315" y="16864"/>
                    <a:pt x="8317" y="17674"/>
                  </a:cubicBezTo>
                  <a:lnTo>
                    <a:pt x="7377" y="18196"/>
                  </a:lnTo>
                  <a:cubicBezTo>
                    <a:pt x="7060" y="18373"/>
                    <a:pt x="6765" y="18693"/>
                    <a:pt x="6868" y="19077"/>
                  </a:cubicBezTo>
                  <a:lnTo>
                    <a:pt x="7281" y="20619"/>
                  </a:lnTo>
                  <a:lnTo>
                    <a:pt x="1964" y="20619"/>
                  </a:lnTo>
                  <a:cubicBezTo>
                    <a:pt x="1422" y="20619"/>
                    <a:pt x="982" y="20178"/>
                    <a:pt x="982" y="19636"/>
                  </a:cubicBezTo>
                  <a:lnTo>
                    <a:pt x="982" y="11291"/>
                  </a:lnTo>
                  <a:lnTo>
                    <a:pt x="1931" y="11291"/>
                  </a:lnTo>
                  <a:cubicBezTo>
                    <a:pt x="2328" y="11291"/>
                    <a:pt x="2538" y="10924"/>
                    <a:pt x="2651" y="10571"/>
                  </a:cubicBezTo>
                  <a:lnTo>
                    <a:pt x="2913" y="9523"/>
                  </a:lnTo>
                  <a:cubicBezTo>
                    <a:pt x="3711" y="9310"/>
                    <a:pt x="4466" y="8993"/>
                    <a:pt x="5164" y="8590"/>
                  </a:cubicBezTo>
                  <a:lnTo>
                    <a:pt x="6091" y="9146"/>
                  </a:lnTo>
                  <a:cubicBezTo>
                    <a:pt x="6275" y="9241"/>
                    <a:pt x="6484" y="9317"/>
                    <a:pt x="6681" y="9317"/>
                  </a:cubicBezTo>
                  <a:cubicBezTo>
                    <a:pt x="6837" y="9317"/>
                    <a:pt x="6985" y="9270"/>
                    <a:pt x="7110" y="9146"/>
                  </a:cubicBezTo>
                  <a:lnTo>
                    <a:pt x="9146" y="7109"/>
                  </a:lnTo>
                  <a:cubicBezTo>
                    <a:pt x="9427" y="6828"/>
                    <a:pt x="9332" y="6404"/>
                    <a:pt x="9146" y="6091"/>
                  </a:cubicBezTo>
                  <a:lnTo>
                    <a:pt x="8593" y="5169"/>
                  </a:lnTo>
                  <a:cubicBezTo>
                    <a:pt x="8999" y="4469"/>
                    <a:pt x="9317" y="3711"/>
                    <a:pt x="9531" y="2911"/>
                  </a:cubicBezTo>
                  <a:lnTo>
                    <a:pt x="10571" y="2651"/>
                  </a:lnTo>
                  <a:cubicBezTo>
                    <a:pt x="10924" y="2538"/>
                    <a:pt x="11291" y="2328"/>
                    <a:pt x="11291" y="1931"/>
                  </a:cubicBezTo>
                  <a:lnTo>
                    <a:pt x="11291" y="982"/>
                  </a:ln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8095"/>
                    <a:pt x="20618" y="8095"/>
                  </a:cubicBezTo>
                  <a:close/>
                  <a:moveTo>
                    <a:pt x="20618" y="12594"/>
                  </a:moveTo>
                  <a:cubicBezTo>
                    <a:pt x="19750" y="12088"/>
                    <a:pt x="18750" y="11782"/>
                    <a:pt x="17673" y="11782"/>
                  </a:cubicBezTo>
                  <a:cubicBezTo>
                    <a:pt x="14419" y="11782"/>
                    <a:pt x="11782" y="14419"/>
                    <a:pt x="11782" y="17673"/>
                  </a:cubicBezTo>
                  <a:cubicBezTo>
                    <a:pt x="11782" y="18751"/>
                    <a:pt x="12088" y="19750"/>
                    <a:pt x="12594" y="20619"/>
                  </a:cubicBezTo>
                  <a:lnTo>
                    <a:pt x="8298" y="20619"/>
                  </a:lnTo>
                  <a:lnTo>
                    <a:pt x="7875" y="19042"/>
                  </a:lnTo>
                  <a:lnTo>
                    <a:pt x="8794" y="18532"/>
                  </a:lnTo>
                  <a:cubicBezTo>
                    <a:pt x="9106" y="18358"/>
                    <a:pt x="9299" y="18028"/>
                    <a:pt x="9299" y="17671"/>
                  </a:cubicBezTo>
                  <a:cubicBezTo>
                    <a:pt x="9298" y="16938"/>
                    <a:pt x="9392" y="16208"/>
                    <a:pt x="9582" y="15502"/>
                  </a:cubicBezTo>
                  <a:cubicBezTo>
                    <a:pt x="9674" y="15158"/>
                    <a:pt x="9572" y="14791"/>
                    <a:pt x="9316" y="14543"/>
                  </a:cubicBezTo>
                  <a:lnTo>
                    <a:pt x="8572" y="13823"/>
                  </a:lnTo>
                  <a:cubicBezTo>
                    <a:pt x="8569" y="13820"/>
                    <a:pt x="8566" y="13817"/>
                    <a:pt x="8564" y="13813"/>
                  </a:cubicBezTo>
                  <a:lnTo>
                    <a:pt x="9776" y="11713"/>
                  </a:lnTo>
                  <a:lnTo>
                    <a:pt x="10783" y="12001"/>
                  </a:lnTo>
                  <a:cubicBezTo>
                    <a:pt x="11126" y="12099"/>
                    <a:pt x="11495" y="12003"/>
                    <a:pt x="11748" y="11751"/>
                  </a:cubicBezTo>
                  <a:cubicBezTo>
                    <a:pt x="12264" y="11234"/>
                    <a:pt x="12848" y="10787"/>
                    <a:pt x="13485" y="10421"/>
                  </a:cubicBezTo>
                  <a:cubicBezTo>
                    <a:pt x="13794" y="10243"/>
                    <a:pt x="13983" y="9911"/>
                    <a:pt x="13977" y="9554"/>
                  </a:cubicBezTo>
                  <a:lnTo>
                    <a:pt x="13960" y="8514"/>
                  </a:lnTo>
                  <a:lnTo>
                    <a:pt x="13960" y="8503"/>
                  </a:lnTo>
                  <a:lnTo>
                    <a:pt x="16304" y="7875"/>
                  </a:lnTo>
                  <a:lnTo>
                    <a:pt x="16817" y="8799"/>
                  </a:lnTo>
                  <a:cubicBezTo>
                    <a:pt x="16905" y="8958"/>
                    <a:pt x="17032" y="9085"/>
                    <a:pt x="17184" y="9172"/>
                  </a:cubicBezTo>
                  <a:cubicBezTo>
                    <a:pt x="17330" y="9257"/>
                    <a:pt x="17499" y="9304"/>
                    <a:pt x="17675" y="9304"/>
                  </a:cubicBezTo>
                  <a:cubicBezTo>
                    <a:pt x="18407" y="9304"/>
                    <a:pt x="19135" y="9399"/>
                    <a:pt x="19837" y="9589"/>
                  </a:cubicBezTo>
                  <a:cubicBezTo>
                    <a:pt x="20106" y="9660"/>
                    <a:pt x="20389" y="9611"/>
                    <a:pt x="20618" y="9464"/>
                  </a:cubicBezTo>
                  <a:cubicBezTo>
                    <a:pt x="20618" y="9464"/>
                    <a:pt x="20618" y="12594"/>
                    <a:pt x="20618" y="12594"/>
                  </a:cubicBezTo>
                  <a:close/>
                  <a:moveTo>
                    <a:pt x="20618" y="15475"/>
                  </a:moveTo>
                  <a:lnTo>
                    <a:pt x="19093" y="16323"/>
                  </a:lnTo>
                  <a:cubicBezTo>
                    <a:pt x="18735" y="15946"/>
                    <a:pt x="18233" y="15709"/>
                    <a:pt x="17673" y="15709"/>
                  </a:cubicBezTo>
                  <a:cubicBezTo>
                    <a:pt x="17113" y="15709"/>
                    <a:pt x="16610" y="15946"/>
                    <a:pt x="16253" y="16323"/>
                  </a:cubicBezTo>
                  <a:lnTo>
                    <a:pt x="13643" y="14873"/>
                  </a:lnTo>
                  <a:cubicBezTo>
                    <a:pt x="14530" y="13599"/>
                    <a:pt x="16003" y="12764"/>
                    <a:pt x="17673" y="12764"/>
                  </a:cubicBezTo>
                  <a:cubicBezTo>
                    <a:pt x="18783" y="12764"/>
                    <a:pt x="19798" y="13141"/>
                    <a:pt x="20618" y="13764"/>
                  </a:cubicBezTo>
                  <a:cubicBezTo>
                    <a:pt x="20618" y="13764"/>
                    <a:pt x="20618" y="15475"/>
                    <a:pt x="20618" y="1547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9"/>
                    <a:pt x="19636" y="20619"/>
                  </a:cubicBezTo>
                  <a:lnTo>
                    <a:pt x="18164" y="20619"/>
                  </a:lnTo>
                  <a:lnTo>
                    <a:pt x="18164" y="19567"/>
                  </a:lnTo>
                  <a:cubicBezTo>
                    <a:pt x="19009" y="19348"/>
                    <a:pt x="19636" y="18587"/>
                    <a:pt x="19636" y="17673"/>
                  </a:cubicBezTo>
                  <a:cubicBezTo>
                    <a:pt x="19636" y="17502"/>
                    <a:pt x="19608" y="17339"/>
                    <a:pt x="19567" y="17182"/>
                  </a:cubicBezTo>
                  <a:lnTo>
                    <a:pt x="20618" y="16598"/>
                  </a:lnTo>
                  <a:cubicBezTo>
                    <a:pt x="20618" y="16598"/>
                    <a:pt x="20618" y="19636"/>
                    <a:pt x="20618" y="19636"/>
                  </a:cubicBezTo>
                  <a:close/>
                  <a:moveTo>
                    <a:pt x="16691" y="17673"/>
                  </a:moveTo>
                  <a:cubicBezTo>
                    <a:pt x="16691" y="17131"/>
                    <a:pt x="17131" y="16691"/>
                    <a:pt x="17673" y="16691"/>
                  </a:cubicBezTo>
                  <a:cubicBezTo>
                    <a:pt x="18214" y="16691"/>
                    <a:pt x="18655" y="17131"/>
                    <a:pt x="18655" y="17673"/>
                  </a:cubicBezTo>
                  <a:cubicBezTo>
                    <a:pt x="18655" y="18215"/>
                    <a:pt x="18214" y="18655"/>
                    <a:pt x="17673" y="18655"/>
                  </a:cubicBezTo>
                  <a:cubicBezTo>
                    <a:pt x="17131" y="18655"/>
                    <a:pt x="16691" y="18215"/>
                    <a:pt x="16691" y="17673"/>
                  </a:cubicBezTo>
                  <a:moveTo>
                    <a:pt x="17182" y="20619"/>
                  </a:moveTo>
                  <a:lnTo>
                    <a:pt x="13757" y="20619"/>
                  </a:lnTo>
                  <a:cubicBezTo>
                    <a:pt x="13138" y="19797"/>
                    <a:pt x="12764" y="18781"/>
                    <a:pt x="12764" y="17673"/>
                  </a:cubicBezTo>
                  <a:cubicBezTo>
                    <a:pt x="12764" y="16982"/>
                    <a:pt x="12907" y="16326"/>
                    <a:pt x="13165" y="15730"/>
                  </a:cubicBezTo>
                  <a:lnTo>
                    <a:pt x="15779" y="17182"/>
                  </a:lnTo>
                  <a:cubicBezTo>
                    <a:pt x="15738" y="17339"/>
                    <a:pt x="15709" y="17502"/>
                    <a:pt x="15709" y="17673"/>
                  </a:cubicBezTo>
                  <a:cubicBezTo>
                    <a:pt x="15709" y="18587"/>
                    <a:pt x="16336" y="19348"/>
                    <a:pt x="17182" y="19567"/>
                  </a:cubicBezTo>
                  <a:cubicBezTo>
                    <a:pt x="17182" y="19567"/>
                    <a:pt x="17182" y="20619"/>
                    <a:pt x="17182" y="20619"/>
                  </a:cubicBezTo>
                  <a:close/>
                  <a:moveTo>
                    <a:pt x="982" y="5376"/>
                  </a:moveTo>
                  <a:cubicBezTo>
                    <a:pt x="3301" y="5145"/>
                    <a:pt x="5145" y="3301"/>
                    <a:pt x="5375" y="982"/>
                  </a:cubicBezTo>
                  <a:lnTo>
                    <a:pt x="10309" y="982"/>
                  </a:lnTo>
                  <a:lnTo>
                    <a:pt x="10309" y="1703"/>
                  </a:lnTo>
                  <a:cubicBezTo>
                    <a:pt x="10305" y="1705"/>
                    <a:pt x="10302" y="1706"/>
                    <a:pt x="10298" y="1707"/>
                  </a:cubicBezTo>
                  <a:lnTo>
                    <a:pt x="9293" y="1958"/>
                  </a:lnTo>
                  <a:cubicBezTo>
                    <a:pt x="8947" y="2045"/>
                    <a:pt x="8675" y="2313"/>
                    <a:pt x="8583" y="2657"/>
                  </a:cubicBezTo>
                  <a:cubicBezTo>
                    <a:pt x="8394" y="3363"/>
                    <a:pt x="8112" y="4042"/>
                    <a:pt x="7744" y="4676"/>
                  </a:cubicBezTo>
                  <a:cubicBezTo>
                    <a:pt x="7564" y="4986"/>
                    <a:pt x="7567" y="5368"/>
                    <a:pt x="7751" y="5674"/>
                  </a:cubicBezTo>
                  <a:lnTo>
                    <a:pt x="8292" y="6575"/>
                  </a:lnTo>
                  <a:lnTo>
                    <a:pt x="6576" y="8291"/>
                  </a:lnTo>
                  <a:cubicBezTo>
                    <a:pt x="6573" y="8290"/>
                    <a:pt x="6569" y="8288"/>
                    <a:pt x="6566" y="8286"/>
                  </a:cubicBezTo>
                  <a:lnTo>
                    <a:pt x="5669" y="7748"/>
                  </a:lnTo>
                  <a:cubicBezTo>
                    <a:pt x="5513" y="7655"/>
                    <a:pt x="5339" y="7608"/>
                    <a:pt x="5164" y="7608"/>
                  </a:cubicBezTo>
                  <a:cubicBezTo>
                    <a:pt x="4995" y="7608"/>
                    <a:pt x="4825" y="7652"/>
                    <a:pt x="4673" y="7739"/>
                  </a:cubicBezTo>
                  <a:cubicBezTo>
                    <a:pt x="4039" y="8106"/>
                    <a:pt x="3362" y="8387"/>
                    <a:pt x="2659" y="8575"/>
                  </a:cubicBezTo>
                  <a:cubicBezTo>
                    <a:pt x="2315" y="8666"/>
                    <a:pt x="2047" y="8938"/>
                    <a:pt x="1960" y="9285"/>
                  </a:cubicBezTo>
                  <a:lnTo>
                    <a:pt x="1707" y="10298"/>
                  </a:lnTo>
                  <a:cubicBezTo>
                    <a:pt x="1706" y="10302"/>
                    <a:pt x="1705" y="10305"/>
                    <a:pt x="1703" y="10310"/>
                  </a:cubicBezTo>
                  <a:lnTo>
                    <a:pt x="982" y="10310"/>
                  </a:lnTo>
                  <a:cubicBezTo>
                    <a:pt x="982" y="10310"/>
                    <a:pt x="982" y="5376"/>
                    <a:pt x="982" y="5376"/>
                  </a:cubicBezTo>
                  <a:close/>
                  <a:moveTo>
                    <a:pt x="982" y="1964"/>
                  </a:moveTo>
                  <a:cubicBezTo>
                    <a:pt x="982" y="1421"/>
                    <a:pt x="1422" y="982"/>
                    <a:pt x="1964" y="982"/>
                  </a:cubicBezTo>
                  <a:lnTo>
                    <a:pt x="4384" y="982"/>
                  </a:lnTo>
                  <a:cubicBezTo>
                    <a:pt x="4162" y="2758"/>
                    <a:pt x="2758" y="4162"/>
                    <a:pt x="982" y="4384"/>
                  </a:cubicBezTo>
                  <a:cubicBezTo>
                    <a:pt x="982" y="4384"/>
                    <a:pt x="982" y="1964"/>
                    <a:pt x="982" y="1964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185" name="Shape 2603">
              <a:extLst>
                <a:ext uri="{FF2B5EF4-FFF2-40B4-BE49-F238E27FC236}">
                  <a16:creationId xmlns:a16="http://schemas.microsoft.com/office/drawing/2014/main" id="{741EB046-59E0-087A-3027-2BF342A4A143}"/>
                </a:ext>
              </a:extLst>
            </p:cNvPr>
            <p:cNvSpPr/>
            <p:nvPr/>
          </p:nvSpPr>
          <p:spPr>
            <a:xfrm>
              <a:off x="15778200" y="2748865"/>
              <a:ext cx="419100" cy="380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520"/>
                  </a:moveTo>
                  <a:lnTo>
                    <a:pt x="14727" y="20520"/>
                  </a:lnTo>
                  <a:lnTo>
                    <a:pt x="14727" y="18360"/>
                  </a:lnTo>
                  <a:cubicBezTo>
                    <a:pt x="14999" y="18360"/>
                    <a:pt x="15218" y="18119"/>
                    <a:pt x="15218" y="17820"/>
                  </a:cubicBezTo>
                  <a:cubicBezTo>
                    <a:pt x="15218" y="17522"/>
                    <a:pt x="14999" y="17280"/>
                    <a:pt x="14727" y="17280"/>
                  </a:cubicBezTo>
                  <a:lnTo>
                    <a:pt x="14727" y="7560"/>
                  </a:lnTo>
                  <a:lnTo>
                    <a:pt x="16691" y="7560"/>
                  </a:lnTo>
                  <a:cubicBezTo>
                    <a:pt x="16691" y="7560"/>
                    <a:pt x="16691" y="20520"/>
                    <a:pt x="16691" y="20520"/>
                  </a:cubicBezTo>
                  <a:close/>
                  <a:moveTo>
                    <a:pt x="13745" y="17280"/>
                  </a:moveTo>
                  <a:cubicBezTo>
                    <a:pt x="13474" y="17280"/>
                    <a:pt x="13255" y="17522"/>
                    <a:pt x="13255" y="17820"/>
                  </a:cubicBezTo>
                  <a:cubicBezTo>
                    <a:pt x="13255" y="18119"/>
                    <a:pt x="13474" y="18360"/>
                    <a:pt x="13745" y="18360"/>
                  </a:cubicBezTo>
                  <a:lnTo>
                    <a:pt x="13745" y="20520"/>
                  </a:lnTo>
                  <a:lnTo>
                    <a:pt x="3927" y="20520"/>
                  </a:lnTo>
                  <a:lnTo>
                    <a:pt x="3927" y="18360"/>
                  </a:lnTo>
                  <a:cubicBezTo>
                    <a:pt x="4199" y="18360"/>
                    <a:pt x="4418" y="18119"/>
                    <a:pt x="4418" y="17820"/>
                  </a:cubicBezTo>
                  <a:cubicBezTo>
                    <a:pt x="4418" y="17522"/>
                    <a:pt x="4199" y="17280"/>
                    <a:pt x="3927" y="17280"/>
                  </a:cubicBezTo>
                  <a:lnTo>
                    <a:pt x="3927" y="7560"/>
                  </a:lnTo>
                  <a:lnTo>
                    <a:pt x="13745" y="7560"/>
                  </a:lnTo>
                  <a:cubicBezTo>
                    <a:pt x="13745" y="7560"/>
                    <a:pt x="13745" y="17280"/>
                    <a:pt x="13745" y="17280"/>
                  </a:cubicBezTo>
                  <a:close/>
                  <a:moveTo>
                    <a:pt x="2945" y="17280"/>
                  </a:moveTo>
                  <a:cubicBezTo>
                    <a:pt x="2674" y="17280"/>
                    <a:pt x="2455" y="17522"/>
                    <a:pt x="2455" y="17820"/>
                  </a:cubicBezTo>
                  <a:cubicBezTo>
                    <a:pt x="2455" y="18119"/>
                    <a:pt x="2674" y="18360"/>
                    <a:pt x="2945" y="18360"/>
                  </a:cubicBezTo>
                  <a:lnTo>
                    <a:pt x="2945" y="20520"/>
                  </a:lnTo>
                  <a:lnTo>
                    <a:pt x="982" y="20520"/>
                  </a:lnTo>
                  <a:lnTo>
                    <a:pt x="982" y="7560"/>
                  </a:lnTo>
                  <a:lnTo>
                    <a:pt x="2945" y="7560"/>
                  </a:lnTo>
                  <a:cubicBezTo>
                    <a:pt x="2945" y="7560"/>
                    <a:pt x="2945" y="17280"/>
                    <a:pt x="2945" y="17280"/>
                  </a:cubicBezTo>
                  <a:close/>
                  <a:moveTo>
                    <a:pt x="7855" y="5400"/>
                  </a:moveTo>
                  <a:lnTo>
                    <a:pt x="9818" y="5400"/>
                  </a:lnTo>
                  <a:cubicBezTo>
                    <a:pt x="10360" y="5400"/>
                    <a:pt x="10800" y="5884"/>
                    <a:pt x="10800" y="6481"/>
                  </a:cubicBezTo>
                  <a:lnTo>
                    <a:pt x="6873" y="6481"/>
                  </a:lnTo>
                  <a:cubicBezTo>
                    <a:pt x="6873" y="5884"/>
                    <a:pt x="7313" y="5400"/>
                    <a:pt x="7855" y="5400"/>
                  </a:cubicBezTo>
                  <a:moveTo>
                    <a:pt x="16691" y="6481"/>
                  </a:moveTo>
                  <a:lnTo>
                    <a:pt x="11782" y="6481"/>
                  </a:lnTo>
                  <a:cubicBezTo>
                    <a:pt x="11782" y="5287"/>
                    <a:pt x="10903" y="4321"/>
                    <a:pt x="9818" y="4321"/>
                  </a:cubicBezTo>
                  <a:lnTo>
                    <a:pt x="7855" y="4321"/>
                  </a:lnTo>
                  <a:cubicBezTo>
                    <a:pt x="6770" y="4321"/>
                    <a:pt x="5891" y="5287"/>
                    <a:pt x="5891" y="6481"/>
                  </a:cubicBezTo>
                  <a:lnTo>
                    <a:pt x="982" y="6481"/>
                  </a:lnTo>
                  <a:cubicBezTo>
                    <a:pt x="440" y="6481"/>
                    <a:pt x="0" y="6964"/>
                    <a:pt x="0" y="7560"/>
                  </a:cubicBezTo>
                  <a:lnTo>
                    <a:pt x="0" y="20520"/>
                  </a:lnTo>
                  <a:cubicBezTo>
                    <a:pt x="0" y="21116"/>
                    <a:pt x="440" y="21600"/>
                    <a:pt x="982" y="21600"/>
                  </a:cubicBezTo>
                  <a:lnTo>
                    <a:pt x="16691" y="21600"/>
                  </a:lnTo>
                  <a:cubicBezTo>
                    <a:pt x="17233" y="21600"/>
                    <a:pt x="17673" y="21116"/>
                    <a:pt x="17673" y="20520"/>
                  </a:cubicBezTo>
                  <a:lnTo>
                    <a:pt x="17673" y="7560"/>
                  </a:lnTo>
                  <a:cubicBezTo>
                    <a:pt x="17673" y="6964"/>
                    <a:pt x="17233" y="6481"/>
                    <a:pt x="16691" y="6481"/>
                  </a:cubicBezTo>
                  <a:moveTo>
                    <a:pt x="10800" y="2161"/>
                  </a:moveTo>
                  <a:cubicBezTo>
                    <a:pt x="10800" y="1564"/>
                    <a:pt x="11240" y="1080"/>
                    <a:pt x="11782" y="1080"/>
                  </a:cubicBezTo>
                  <a:lnTo>
                    <a:pt x="13745" y="1080"/>
                  </a:lnTo>
                  <a:cubicBezTo>
                    <a:pt x="14287" y="1080"/>
                    <a:pt x="14727" y="1564"/>
                    <a:pt x="14727" y="2161"/>
                  </a:cubicBezTo>
                  <a:cubicBezTo>
                    <a:pt x="14727" y="2161"/>
                    <a:pt x="10800" y="2161"/>
                    <a:pt x="10800" y="2161"/>
                  </a:cubicBezTo>
                  <a:close/>
                  <a:moveTo>
                    <a:pt x="20618" y="2161"/>
                  </a:moveTo>
                  <a:lnTo>
                    <a:pt x="15709" y="2161"/>
                  </a:lnTo>
                  <a:cubicBezTo>
                    <a:pt x="15709" y="967"/>
                    <a:pt x="14830" y="0"/>
                    <a:pt x="13745" y="0"/>
                  </a:cubicBezTo>
                  <a:lnTo>
                    <a:pt x="11782" y="0"/>
                  </a:lnTo>
                  <a:cubicBezTo>
                    <a:pt x="10697" y="0"/>
                    <a:pt x="9818" y="967"/>
                    <a:pt x="9818" y="2161"/>
                  </a:cubicBezTo>
                  <a:lnTo>
                    <a:pt x="4909" y="2161"/>
                  </a:lnTo>
                  <a:cubicBezTo>
                    <a:pt x="4367" y="2161"/>
                    <a:pt x="3927" y="2644"/>
                    <a:pt x="3927" y="3240"/>
                  </a:cubicBezTo>
                  <a:lnTo>
                    <a:pt x="3927" y="4860"/>
                  </a:lnTo>
                  <a:cubicBezTo>
                    <a:pt x="3927" y="5159"/>
                    <a:pt x="4147" y="5400"/>
                    <a:pt x="4418" y="5400"/>
                  </a:cubicBezTo>
                  <a:cubicBezTo>
                    <a:pt x="4690" y="5400"/>
                    <a:pt x="4909" y="5159"/>
                    <a:pt x="4909" y="4860"/>
                  </a:cubicBezTo>
                  <a:lnTo>
                    <a:pt x="4909" y="3240"/>
                  </a:lnTo>
                  <a:lnTo>
                    <a:pt x="20618" y="3240"/>
                  </a:lnTo>
                  <a:lnTo>
                    <a:pt x="20618" y="16201"/>
                  </a:lnTo>
                  <a:lnTo>
                    <a:pt x="19145" y="16201"/>
                  </a:lnTo>
                  <a:cubicBezTo>
                    <a:pt x="18874" y="16201"/>
                    <a:pt x="18655" y="16442"/>
                    <a:pt x="18655" y="16740"/>
                  </a:cubicBezTo>
                  <a:cubicBezTo>
                    <a:pt x="18655" y="17039"/>
                    <a:pt x="18874" y="17280"/>
                    <a:pt x="19145" y="17280"/>
                  </a:cubicBezTo>
                  <a:lnTo>
                    <a:pt x="20618" y="17280"/>
                  </a:lnTo>
                  <a:cubicBezTo>
                    <a:pt x="21160" y="17280"/>
                    <a:pt x="21600" y="16796"/>
                    <a:pt x="21600" y="16201"/>
                  </a:cubicBezTo>
                  <a:lnTo>
                    <a:pt x="21600" y="3240"/>
                  </a:lnTo>
                  <a:cubicBezTo>
                    <a:pt x="21600" y="2644"/>
                    <a:pt x="21160" y="2161"/>
                    <a:pt x="20618" y="2161"/>
                  </a:cubicBezTo>
                  <a:moveTo>
                    <a:pt x="5400" y="11881"/>
                  </a:moveTo>
                  <a:lnTo>
                    <a:pt x="6382" y="11881"/>
                  </a:lnTo>
                  <a:cubicBezTo>
                    <a:pt x="6653" y="11881"/>
                    <a:pt x="6873" y="11639"/>
                    <a:pt x="6873" y="11341"/>
                  </a:cubicBezTo>
                  <a:cubicBezTo>
                    <a:pt x="6873" y="11042"/>
                    <a:pt x="6653" y="10800"/>
                    <a:pt x="6382" y="10800"/>
                  </a:cubicBezTo>
                  <a:lnTo>
                    <a:pt x="5400" y="10800"/>
                  </a:lnTo>
                  <a:cubicBezTo>
                    <a:pt x="5129" y="10800"/>
                    <a:pt x="4909" y="11042"/>
                    <a:pt x="4909" y="11341"/>
                  </a:cubicBezTo>
                  <a:cubicBezTo>
                    <a:pt x="4909" y="11639"/>
                    <a:pt x="5129" y="11881"/>
                    <a:pt x="5400" y="11881"/>
                  </a:cubicBezTo>
                  <a:moveTo>
                    <a:pt x="5400" y="9720"/>
                  </a:moveTo>
                  <a:lnTo>
                    <a:pt x="8345" y="9720"/>
                  </a:lnTo>
                  <a:cubicBezTo>
                    <a:pt x="8617" y="9720"/>
                    <a:pt x="8836" y="9479"/>
                    <a:pt x="8836" y="9181"/>
                  </a:cubicBezTo>
                  <a:cubicBezTo>
                    <a:pt x="8836" y="8882"/>
                    <a:pt x="8617" y="8640"/>
                    <a:pt x="8345" y="8640"/>
                  </a:cubicBezTo>
                  <a:lnTo>
                    <a:pt x="5400" y="8640"/>
                  </a:lnTo>
                  <a:cubicBezTo>
                    <a:pt x="5129" y="8640"/>
                    <a:pt x="4909" y="8882"/>
                    <a:pt x="4909" y="9181"/>
                  </a:cubicBezTo>
                  <a:cubicBezTo>
                    <a:pt x="4909" y="9479"/>
                    <a:pt x="5129" y="9720"/>
                    <a:pt x="5400" y="9720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23" name="Shape 2613">
              <a:extLst>
                <a:ext uri="{FF2B5EF4-FFF2-40B4-BE49-F238E27FC236}">
                  <a16:creationId xmlns:a16="http://schemas.microsoft.com/office/drawing/2014/main" id="{30EE55EC-E1B2-7546-63BA-529937738D41}"/>
                </a:ext>
              </a:extLst>
            </p:cNvPr>
            <p:cNvSpPr/>
            <p:nvPr/>
          </p:nvSpPr>
          <p:spPr>
            <a:xfrm>
              <a:off x="15778200" y="3529832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964"/>
                  </a:moveTo>
                  <a:lnTo>
                    <a:pt x="10800" y="1964"/>
                  </a:lnTo>
                  <a:cubicBezTo>
                    <a:pt x="8836" y="1964"/>
                    <a:pt x="8836" y="0"/>
                    <a:pt x="6873" y="0"/>
                  </a:cubicBez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5709"/>
                  </a:lnTo>
                  <a:cubicBezTo>
                    <a:pt x="0" y="16794"/>
                    <a:pt x="879" y="17673"/>
                    <a:pt x="1964" y="17673"/>
                  </a:cubicBezTo>
                  <a:lnTo>
                    <a:pt x="6599" y="17673"/>
                  </a:lnTo>
                  <a:cubicBezTo>
                    <a:pt x="6257" y="17372"/>
                    <a:pt x="5941" y="17046"/>
                    <a:pt x="5656" y="16691"/>
                  </a:cubicBezTo>
                  <a:lnTo>
                    <a:pt x="1964" y="16691"/>
                  </a:lnTo>
                  <a:cubicBezTo>
                    <a:pt x="1422" y="16691"/>
                    <a:pt x="982" y="16252"/>
                    <a:pt x="982" y="15709"/>
                  </a:cubicBezTo>
                  <a:lnTo>
                    <a:pt x="982" y="5891"/>
                  </a:lnTo>
                  <a:lnTo>
                    <a:pt x="6599" y="5891"/>
                  </a:lnTo>
                  <a:cubicBezTo>
                    <a:pt x="7023" y="5517"/>
                    <a:pt x="7484" y="5185"/>
                    <a:pt x="7982" y="4909"/>
                  </a:cubicBezTo>
                  <a:lnTo>
                    <a:pt x="982" y="4909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6873" y="982"/>
                  </a:lnTo>
                  <a:cubicBezTo>
                    <a:pt x="8345" y="982"/>
                    <a:pt x="8345" y="2946"/>
                    <a:pt x="10800" y="2946"/>
                  </a:cubicBezTo>
                  <a:lnTo>
                    <a:pt x="19636" y="2946"/>
                  </a:lnTo>
                  <a:cubicBezTo>
                    <a:pt x="20178" y="2946"/>
                    <a:pt x="20618" y="3385"/>
                    <a:pt x="20618" y="3927"/>
                  </a:cubicBezTo>
                  <a:lnTo>
                    <a:pt x="20618" y="4909"/>
                  </a:lnTo>
                  <a:lnTo>
                    <a:pt x="15582" y="4909"/>
                  </a:lnTo>
                  <a:cubicBezTo>
                    <a:pt x="16080" y="5185"/>
                    <a:pt x="16541" y="5517"/>
                    <a:pt x="16965" y="5891"/>
                  </a:cubicBezTo>
                  <a:lnTo>
                    <a:pt x="20618" y="5891"/>
                  </a:lnTo>
                  <a:lnTo>
                    <a:pt x="20618" y="15709"/>
                  </a:lnTo>
                  <a:cubicBezTo>
                    <a:pt x="20618" y="16252"/>
                    <a:pt x="20178" y="16691"/>
                    <a:pt x="19636" y="16691"/>
                  </a:cubicBezTo>
                  <a:lnTo>
                    <a:pt x="18766" y="16691"/>
                  </a:lnTo>
                  <a:lnTo>
                    <a:pt x="19738" y="17663"/>
                  </a:lnTo>
                  <a:cubicBezTo>
                    <a:pt x="20774" y="17609"/>
                    <a:pt x="21600" y="16759"/>
                    <a:pt x="21600" y="15709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1782" y="17673"/>
                  </a:moveTo>
                  <a:cubicBezTo>
                    <a:pt x="8529" y="17673"/>
                    <a:pt x="5891" y="15036"/>
                    <a:pt x="5891" y="11782"/>
                  </a:cubicBezTo>
                  <a:cubicBezTo>
                    <a:pt x="5891" y="8529"/>
                    <a:pt x="8529" y="5891"/>
                    <a:pt x="11782" y="5891"/>
                  </a:cubicBezTo>
                  <a:cubicBezTo>
                    <a:pt x="15035" y="5891"/>
                    <a:pt x="17673" y="8529"/>
                    <a:pt x="17673" y="11782"/>
                  </a:cubicBezTo>
                  <a:cubicBezTo>
                    <a:pt x="17673" y="15036"/>
                    <a:pt x="15035" y="17673"/>
                    <a:pt x="11782" y="17673"/>
                  </a:cubicBezTo>
                  <a:moveTo>
                    <a:pt x="16972" y="16278"/>
                  </a:moveTo>
                  <a:cubicBezTo>
                    <a:pt x="18018" y="15072"/>
                    <a:pt x="18655" y="13503"/>
                    <a:pt x="18655" y="11782"/>
                  </a:cubicBezTo>
                  <a:cubicBezTo>
                    <a:pt x="18655" y="7987"/>
                    <a:pt x="15578" y="4910"/>
                    <a:pt x="11782" y="4910"/>
                  </a:cubicBezTo>
                  <a:cubicBezTo>
                    <a:pt x="7986" y="4910"/>
                    <a:pt x="4909" y="7987"/>
                    <a:pt x="4909" y="11782"/>
                  </a:cubicBezTo>
                  <a:cubicBezTo>
                    <a:pt x="4909" y="15578"/>
                    <a:pt x="7986" y="18655"/>
                    <a:pt x="11782" y="18655"/>
                  </a:cubicBezTo>
                  <a:cubicBezTo>
                    <a:pt x="13503" y="18655"/>
                    <a:pt x="15072" y="18017"/>
                    <a:pt x="16278" y="16972"/>
                  </a:cubicBezTo>
                  <a:lnTo>
                    <a:pt x="16972" y="17666"/>
                  </a:lnTo>
                  <a:cubicBezTo>
                    <a:pt x="16969" y="17668"/>
                    <a:pt x="16967" y="17671"/>
                    <a:pt x="16965" y="17673"/>
                  </a:cubicBezTo>
                  <a:lnTo>
                    <a:pt x="16979" y="17673"/>
                  </a:lnTo>
                  <a:lnTo>
                    <a:pt x="20762" y="21457"/>
                  </a:lnTo>
                  <a:cubicBezTo>
                    <a:pt x="20851" y="21546"/>
                    <a:pt x="20974" y="21600"/>
                    <a:pt x="21109" y="21600"/>
                  </a:cubicBezTo>
                  <a:cubicBezTo>
                    <a:pt x="21380" y="21600"/>
                    <a:pt x="21600" y="21381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6972" y="16278"/>
                    <a:pt x="16972" y="16278"/>
                  </a:cubicBezTo>
                  <a:close/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33" name="Shape 2623">
              <a:extLst>
                <a:ext uri="{FF2B5EF4-FFF2-40B4-BE49-F238E27FC236}">
                  <a16:creationId xmlns:a16="http://schemas.microsoft.com/office/drawing/2014/main" id="{5467AABC-7552-D548-073F-EF19C6A4783E}"/>
                </a:ext>
              </a:extLst>
            </p:cNvPr>
            <p:cNvSpPr/>
            <p:nvPr/>
          </p:nvSpPr>
          <p:spPr>
            <a:xfrm>
              <a:off x="15778200" y="4329848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364" y="13255"/>
                  </a:moveTo>
                  <a:lnTo>
                    <a:pt x="5400" y="13255"/>
                  </a:lnTo>
                  <a:lnTo>
                    <a:pt x="5400" y="15218"/>
                  </a:lnTo>
                  <a:lnTo>
                    <a:pt x="7364" y="15218"/>
                  </a:lnTo>
                  <a:cubicBezTo>
                    <a:pt x="7364" y="15218"/>
                    <a:pt x="7364" y="13255"/>
                    <a:pt x="7364" y="13255"/>
                  </a:cubicBezTo>
                  <a:close/>
                  <a:moveTo>
                    <a:pt x="7364" y="16691"/>
                  </a:moveTo>
                  <a:lnTo>
                    <a:pt x="5400" y="16691"/>
                  </a:lnTo>
                  <a:lnTo>
                    <a:pt x="5400" y="18655"/>
                  </a:lnTo>
                  <a:lnTo>
                    <a:pt x="7364" y="18655"/>
                  </a:lnTo>
                  <a:cubicBezTo>
                    <a:pt x="7364" y="18655"/>
                    <a:pt x="7364" y="16691"/>
                    <a:pt x="7364" y="16691"/>
                  </a:cubicBezTo>
                  <a:close/>
                  <a:moveTo>
                    <a:pt x="7364" y="9818"/>
                  </a:moveTo>
                  <a:lnTo>
                    <a:pt x="5400" y="9818"/>
                  </a:lnTo>
                  <a:lnTo>
                    <a:pt x="5400" y="11782"/>
                  </a:lnTo>
                  <a:lnTo>
                    <a:pt x="7364" y="11782"/>
                  </a:lnTo>
                  <a:cubicBezTo>
                    <a:pt x="7364" y="11782"/>
                    <a:pt x="7364" y="9818"/>
                    <a:pt x="7364" y="9818"/>
                  </a:cubicBezTo>
                  <a:close/>
                  <a:moveTo>
                    <a:pt x="4418" y="16691"/>
                  </a:moveTo>
                  <a:lnTo>
                    <a:pt x="2455" y="16691"/>
                  </a:lnTo>
                  <a:lnTo>
                    <a:pt x="2455" y="18655"/>
                  </a:lnTo>
                  <a:lnTo>
                    <a:pt x="4418" y="18655"/>
                  </a:lnTo>
                  <a:cubicBezTo>
                    <a:pt x="4418" y="18655"/>
                    <a:pt x="4418" y="16691"/>
                    <a:pt x="4418" y="16691"/>
                  </a:cubicBezTo>
                  <a:close/>
                  <a:moveTo>
                    <a:pt x="20618" y="6873"/>
                  </a:moveTo>
                  <a:lnTo>
                    <a:pt x="982" y="6873"/>
                  </a:lnTo>
                  <a:lnTo>
                    <a:pt x="982" y="3928"/>
                  </a:lnTo>
                  <a:cubicBezTo>
                    <a:pt x="982" y="3385"/>
                    <a:pt x="1422" y="2945"/>
                    <a:pt x="1964" y="2945"/>
                  </a:cubicBezTo>
                  <a:lnTo>
                    <a:pt x="3927" y="2945"/>
                  </a:lnTo>
                  <a:lnTo>
                    <a:pt x="3927" y="4418"/>
                  </a:lnTo>
                  <a:cubicBezTo>
                    <a:pt x="3927" y="4690"/>
                    <a:pt x="4147" y="4909"/>
                    <a:pt x="4418" y="4909"/>
                  </a:cubicBezTo>
                  <a:cubicBezTo>
                    <a:pt x="4690" y="4909"/>
                    <a:pt x="4909" y="4690"/>
                    <a:pt x="4909" y="4418"/>
                  </a:cubicBezTo>
                  <a:lnTo>
                    <a:pt x="4909" y="2945"/>
                  </a:lnTo>
                  <a:lnTo>
                    <a:pt x="16691" y="2945"/>
                  </a:lnTo>
                  <a:lnTo>
                    <a:pt x="16691" y="4418"/>
                  </a:lnTo>
                  <a:cubicBezTo>
                    <a:pt x="16691" y="4690"/>
                    <a:pt x="16910" y="4909"/>
                    <a:pt x="17182" y="4909"/>
                  </a:cubicBezTo>
                  <a:cubicBezTo>
                    <a:pt x="17453" y="4909"/>
                    <a:pt x="17673" y="4690"/>
                    <a:pt x="17673" y="4418"/>
                  </a:cubicBezTo>
                  <a:lnTo>
                    <a:pt x="17673" y="2945"/>
                  </a:lnTo>
                  <a:lnTo>
                    <a:pt x="19636" y="2945"/>
                  </a:lnTo>
                  <a:cubicBezTo>
                    <a:pt x="20178" y="2945"/>
                    <a:pt x="20618" y="3385"/>
                    <a:pt x="20618" y="3928"/>
                  </a:cubicBezTo>
                  <a:cubicBezTo>
                    <a:pt x="20618" y="3928"/>
                    <a:pt x="20618" y="6873"/>
                    <a:pt x="20618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9636" y="1964"/>
                  </a:moveTo>
                  <a:lnTo>
                    <a:pt x="17673" y="1964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1964"/>
                  </a:lnTo>
                  <a:lnTo>
                    <a:pt x="4909" y="1964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1964"/>
                  </a:lnTo>
                  <a:lnTo>
                    <a:pt x="1964" y="1964"/>
                  </a:lnTo>
                  <a:cubicBezTo>
                    <a:pt x="879" y="1964"/>
                    <a:pt x="0" y="2843"/>
                    <a:pt x="0" y="3928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8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4418" y="9818"/>
                  </a:moveTo>
                  <a:lnTo>
                    <a:pt x="2455" y="9818"/>
                  </a:lnTo>
                  <a:lnTo>
                    <a:pt x="2455" y="11782"/>
                  </a:lnTo>
                  <a:lnTo>
                    <a:pt x="4418" y="11782"/>
                  </a:lnTo>
                  <a:cubicBezTo>
                    <a:pt x="4418" y="11782"/>
                    <a:pt x="4418" y="9818"/>
                    <a:pt x="4418" y="9818"/>
                  </a:cubicBezTo>
                  <a:close/>
                  <a:moveTo>
                    <a:pt x="4418" y="13255"/>
                  </a:moveTo>
                  <a:lnTo>
                    <a:pt x="2455" y="13255"/>
                  </a:lnTo>
                  <a:lnTo>
                    <a:pt x="2455" y="15218"/>
                  </a:lnTo>
                  <a:lnTo>
                    <a:pt x="4418" y="15218"/>
                  </a:lnTo>
                  <a:cubicBezTo>
                    <a:pt x="4418" y="15218"/>
                    <a:pt x="4418" y="13255"/>
                    <a:pt x="4418" y="13255"/>
                  </a:cubicBezTo>
                  <a:close/>
                  <a:moveTo>
                    <a:pt x="10309" y="16691"/>
                  </a:moveTo>
                  <a:lnTo>
                    <a:pt x="8345" y="16691"/>
                  </a:lnTo>
                  <a:lnTo>
                    <a:pt x="8345" y="18655"/>
                  </a:lnTo>
                  <a:lnTo>
                    <a:pt x="10309" y="18655"/>
                  </a:lnTo>
                  <a:cubicBezTo>
                    <a:pt x="10309" y="18655"/>
                    <a:pt x="10309" y="16691"/>
                    <a:pt x="10309" y="16691"/>
                  </a:cubicBezTo>
                  <a:close/>
                  <a:moveTo>
                    <a:pt x="10309" y="9818"/>
                  </a:moveTo>
                  <a:lnTo>
                    <a:pt x="8345" y="9818"/>
                  </a:lnTo>
                  <a:lnTo>
                    <a:pt x="8345" y="11782"/>
                  </a:lnTo>
                  <a:lnTo>
                    <a:pt x="10309" y="11782"/>
                  </a:lnTo>
                  <a:cubicBezTo>
                    <a:pt x="10309" y="11782"/>
                    <a:pt x="10309" y="9818"/>
                    <a:pt x="10309" y="9818"/>
                  </a:cubicBezTo>
                  <a:close/>
                  <a:moveTo>
                    <a:pt x="10309" y="13255"/>
                  </a:moveTo>
                  <a:lnTo>
                    <a:pt x="8345" y="13255"/>
                  </a:lnTo>
                  <a:lnTo>
                    <a:pt x="8345" y="15218"/>
                  </a:lnTo>
                  <a:lnTo>
                    <a:pt x="10309" y="15218"/>
                  </a:lnTo>
                  <a:cubicBezTo>
                    <a:pt x="10309" y="15218"/>
                    <a:pt x="10309" y="13255"/>
                    <a:pt x="10309" y="13255"/>
                  </a:cubicBezTo>
                  <a:close/>
                  <a:moveTo>
                    <a:pt x="19145" y="13255"/>
                  </a:moveTo>
                  <a:lnTo>
                    <a:pt x="17182" y="13255"/>
                  </a:lnTo>
                  <a:lnTo>
                    <a:pt x="17182" y="15218"/>
                  </a:lnTo>
                  <a:lnTo>
                    <a:pt x="19145" y="15218"/>
                  </a:lnTo>
                  <a:cubicBezTo>
                    <a:pt x="19145" y="15218"/>
                    <a:pt x="19145" y="13255"/>
                    <a:pt x="19145" y="13255"/>
                  </a:cubicBezTo>
                  <a:close/>
                  <a:moveTo>
                    <a:pt x="16200" y="13255"/>
                  </a:moveTo>
                  <a:lnTo>
                    <a:pt x="14236" y="13255"/>
                  </a:lnTo>
                  <a:lnTo>
                    <a:pt x="14236" y="15218"/>
                  </a:lnTo>
                  <a:lnTo>
                    <a:pt x="16200" y="15218"/>
                  </a:lnTo>
                  <a:cubicBezTo>
                    <a:pt x="16200" y="15218"/>
                    <a:pt x="16200" y="13255"/>
                    <a:pt x="16200" y="13255"/>
                  </a:cubicBezTo>
                  <a:close/>
                  <a:moveTo>
                    <a:pt x="19145" y="9818"/>
                  </a:moveTo>
                  <a:lnTo>
                    <a:pt x="17182" y="9818"/>
                  </a:lnTo>
                  <a:lnTo>
                    <a:pt x="17182" y="11782"/>
                  </a:lnTo>
                  <a:lnTo>
                    <a:pt x="19145" y="11782"/>
                  </a:lnTo>
                  <a:cubicBezTo>
                    <a:pt x="19145" y="11782"/>
                    <a:pt x="19145" y="9818"/>
                    <a:pt x="19145" y="9818"/>
                  </a:cubicBezTo>
                  <a:close/>
                  <a:moveTo>
                    <a:pt x="16200" y="9818"/>
                  </a:moveTo>
                  <a:lnTo>
                    <a:pt x="14236" y="9818"/>
                  </a:lnTo>
                  <a:lnTo>
                    <a:pt x="14236" y="11782"/>
                  </a:lnTo>
                  <a:lnTo>
                    <a:pt x="16200" y="11782"/>
                  </a:lnTo>
                  <a:cubicBezTo>
                    <a:pt x="16200" y="11782"/>
                    <a:pt x="16200" y="9818"/>
                    <a:pt x="16200" y="9818"/>
                  </a:cubicBezTo>
                  <a:close/>
                  <a:moveTo>
                    <a:pt x="13255" y="16691"/>
                  </a:moveTo>
                  <a:lnTo>
                    <a:pt x="11291" y="16691"/>
                  </a:lnTo>
                  <a:lnTo>
                    <a:pt x="11291" y="18655"/>
                  </a:lnTo>
                  <a:lnTo>
                    <a:pt x="13255" y="18655"/>
                  </a:lnTo>
                  <a:cubicBezTo>
                    <a:pt x="13255" y="18655"/>
                    <a:pt x="13255" y="16691"/>
                    <a:pt x="13255" y="16691"/>
                  </a:cubicBezTo>
                  <a:close/>
                  <a:moveTo>
                    <a:pt x="13255" y="9818"/>
                  </a:moveTo>
                  <a:lnTo>
                    <a:pt x="11291" y="9818"/>
                  </a:lnTo>
                  <a:lnTo>
                    <a:pt x="11291" y="11782"/>
                  </a:lnTo>
                  <a:lnTo>
                    <a:pt x="13255" y="11782"/>
                  </a:lnTo>
                  <a:cubicBezTo>
                    <a:pt x="13255" y="11782"/>
                    <a:pt x="13255" y="9818"/>
                    <a:pt x="13255" y="9818"/>
                  </a:cubicBezTo>
                  <a:close/>
                  <a:moveTo>
                    <a:pt x="13255" y="13255"/>
                  </a:moveTo>
                  <a:lnTo>
                    <a:pt x="11291" y="13255"/>
                  </a:lnTo>
                  <a:lnTo>
                    <a:pt x="11291" y="15218"/>
                  </a:lnTo>
                  <a:lnTo>
                    <a:pt x="13255" y="15218"/>
                  </a:lnTo>
                  <a:cubicBezTo>
                    <a:pt x="13255" y="15218"/>
                    <a:pt x="13255" y="13255"/>
                    <a:pt x="13255" y="13255"/>
                  </a:cubicBezTo>
                  <a:close/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43" name="Shape 2633">
              <a:extLst>
                <a:ext uri="{FF2B5EF4-FFF2-40B4-BE49-F238E27FC236}">
                  <a16:creationId xmlns:a16="http://schemas.microsoft.com/office/drawing/2014/main" id="{2C4259C4-30B0-060A-4CE9-4A286A056B80}"/>
                </a:ext>
              </a:extLst>
            </p:cNvPr>
            <p:cNvSpPr/>
            <p:nvPr/>
          </p:nvSpPr>
          <p:spPr>
            <a:xfrm>
              <a:off x="15778200" y="5129863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44" y="18334"/>
                  </a:moveTo>
                  <a:lnTo>
                    <a:pt x="15583" y="6873"/>
                  </a:lnTo>
                  <a:lnTo>
                    <a:pt x="20168" y="6873"/>
                  </a:lnTo>
                  <a:cubicBezTo>
                    <a:pt x="20168" y="6873"/>
                    <a:pt x="12144" y="18334"/>
                    <a:pt x="12144" y="18334"/>
                  </a:cubicBezTo>
                  <a:close/>
                  <a:moveTo>
                    <a:pt x="10800" y="19403"/>
                  </a:moveTo>
                  <a:lnTo>
                    <a:pt x="7041" y="6873"/>
                  </a:lnTo>
                  <a:lnTo>
                    <a:pt x="14559" y="6873"/>
                  </a:lnTo>
                  <a:cubicBezTo>
                    <a:pt x="14559" y="6873"/>
                    <a:pt x="10800" y="19403"/>
                    <a:pt x="10800" y="19403"/>
                  </a:cubicBezTo>
                  <a:close/>
                  <a:moveTo>
                    <a:pt x="1432" y="6873"/>
                  </a:moveTo>
                  <a:lnTo>
                    <a:pt x="6017" y="6873"/>
                  </a:lnTo>
                  <a:lnTo>
                    <a:pt x="9456" y="18334"/>
                  </a:lnTo>
                  <a:cubicBezTo>
                    <a:pt x="9456" y="18334"/>
                    <a:pt x="1432" y="6873"/>
                    <a:pt x="1432" y="6873"/>
                  </a:cubicBezTo>
                  <a:close/>
                  <a:moveTo>
                    <a:pt x="6578" y="982"/>
                  </a:moveTo>
                  <a:lnTo>
                    <a:pt x="8536" y="982"/>
                  </a:lnTo>
                  <a:lnTo>
                    <a:pt x="6082" y="5891"/>
                  </a:lnTo>
                  <a:lnTo>
                    <a:pt x="1669" y="5891"/>
                  </a:lnTo>
                  <a:cubicBezTo>
                    <a:pt x="1669" y="5891"/>
                    <a:pt x="6578" y="982"/>
                    <a:pt x="6578" y="982"/>
                  </a:cubicBezTo>
                  <a:close/>
                  <a:moveTo>
                    <a:pt x="11973" y="982"/>
                  </a:moveTo>
                  <a:lnTo>
                    <a:pt x="14427" y="5891"/>
                  </a:lnTo>
                  <a:lnTo>
                    <a:pt x="7173" y="5891"/>
                  </a:lnTo>
                  <a:lnTo>
                    <a:pt x="9627" y="982"/>
                  </a:lnTo>
                  <a:cubicBezTo>
                    <a:pt x="9627" y="982"/>
                    <a:pt x="11973" y="982"/>
                    <a:pt x="11973" y="982"/>
                  </a:cubicBezTo>
                  <a:close/>
                  <a:moveTo>
                    <a:pt x="15022" y="982"/>
                  </a:moveTo>
                  <a:lnTo>
                    <a:pt x="19931" y="5891"/>
                  </a:lnTo>
                  <a:lnTo>
                    <a:pt x="15518" y="5891"/>
                  </a:lnTo>
                  <a:lnTo>
                    <a:pt x="13064" y="982"/>
                  </a:lnTo>
                  <a:cubicBezTo>
                    <a:pt x="13064" y="982"/>
                    <a:pt x="15022" y="982"/>
                    <a:pt x="15022" y="982"/>
                  </a:cubicBezTo>
                  <a:close/>
                  <a:moveTo>
                    <a:pt x="21600" y="6382"/>
                  </a:moveTo>
                  <a:cubicBezTo>
                    <a:pt x="21600" y="6272"/>
                    <a:pt x="21557" y="6175"/>
                    <a:pt x="21495" y="6093"/>
                  </a:cubicBezTo>
                  <a:lnTo>
                    <a:pt x="21502" y="6088"/>
                  </a:lnTo>
                  <a:lnTo>
                    <a:pt x="21471" y="6057"/>
                  </a:lnTo>
                  <a:cubicBezTo>
                    <a:pt x="21459" y="6044"/>
                    <a:pt x="21448" y="6032"/>
                    <a:pt x="21434" y="6020"/>
                  </a:cubicBezTo>
                  <a:lnTo>
                    <a:pt x="15611" y="197"/>
                  </a:lnTo>
                  <a:lnTo>
                    <a:pt x="15604" y="201"/>
                  </a:lnTo>
                  <a:cubicBezTo>
                    <a:pt x="15514" y="82"/>
                    <a:pt x="15379" y="0"/>
                    <a:pt x="15218" y="0"/>
                  </a:cubicBezTo>
                  <a:lnTo>
                    <a:pt x="6382" y="0"/>
                  </a:lnTo>
                  <a:cubicBezTo>
                    <a:pt x="6221" y="0"/>
                    <a:pt x="6086" y="82"/>
                    <a:pt x="5996" y="201"/>
                  </a:cubicBezTo>
                  <a:lnTo>
                    <a:pt x="5989" y="197"/>
                  </a:lnTo>
                  <a:lnTo>
                    <a:pt x="166" y="6020"/>
                  </a:lnTo>
                  <a:cubicBezTo>
                    <a:pt x="152" y="6032"/>
                    <a:pt x="141" y="6044"/>
                    <a:pt x="129" y="6057"/>
                  </a:cubicBezTo>
                  <a:lnTo>
                    <a:pt x="98" y="6088"/>
                  </a:lnTo>
                  <a:lnTo>
                    <a:pt x="105" y="6093"/>
                  </a:lnTo>
                  <a:cubicBezTo>
                    <a:pt x="43" y="6175"/>
                    <a:pt x="0" y="6272"/>
                    <a:pt x="0" y="6382"/>
                  </a:cubicBezTo>
                  <a:cubicBezTo>
                    <a:pt x="0" y="6499"/>
                    <a:pt x="46" y="6602"/>
                    <a:pt x="115" y="6686"/>
                  </a:cubicBezTo>
                  <a:lnTo>
                    <a:pt x="109" y="6690"/>
                  </a:lnTo>
                  <a:lnTo>
                    <a:pt x="10418" y="21418"/>
                  </a:lnTo>
                  <a:lnTo>
                    <a:pt x="10424" y="21413"/>
                  </a:lnTo>
                  <a:cubicBezTo>
                    <a:pt x="10514" y="21525"/>
                    <a:pt x="10646" y="21600"/>
                    <a:pt x="10800" y="21600"/>
                  </a:cubicBezTo>
                  <a:cubicBezTo>
                    <a:pt x="10954" y="21600"/>
                    <a:pt x="11086" y="21525"/>
                    <a:pt x="11176" y="21413"/>
                  </a:cubicBezTo>
                  <a:lnTo>
                    <a:pt x="11182" y="21418"/>
                  </a:lnTo>
                  <a:lnTo>
                    <a:pt x="21491" y="6690"/>
                  </a:lnTo>
                  <a:lnTo>
                    <a:pt x="21485" y="6686"/>
                  </a:lnTo>
                  <a:cubicBezTo>
                    <a:pt x="21553" y="6602"/>
                    <a:pt x="21600" y="6499"/>
                    <a:pt x="21600" y="6382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89" name="Shape 2869">
              <a:extLst>
                <a:ext uri="{FF2B5EF4-FFF2-40B4-BE49-F238E27FC236}">
                  <a16:creationId xmlns:a16="http://schemas.microsoft.com/office/drawing/2014/main" id="{00C18A74-C666-D62E-6A25-A391E04FF1F5}"/>
                </a:ext>
              </a:extLst>
            </p:cNvPr>
            <p:cNvSpPr/>
            <p:nvPr/>
          </p:nvSpPr>
          <p:spPr>
            <a:xfrm>
              <a:off x="15778200" y="6927417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3745"/>
                  </a:moveTo>
                  <a:cubicBezTo>
                    <a:pt x="14727" y="14287"/>
                    <a:pt x="14287" y="14727"/>
                    <a:pt x="13745" y="14727"/>
                  </a:cubicBezTo>
                  <a:lnTo>
                    <a:pt x="7855" y="14727"/>
                  </a:lnTo>
                  <a:cubicBezTo>
                    <a:pt x="7313" y="14727"/>
                    <a:pt x="6873" y="14287"/>
                    <a:pt x="6873" y="13745"/>
                  </a:cubicBezTo>
                  <a:lnTo>
                    <a:pt x="6873" y="10309"/>
                  </a:lnTo>
                  <a:lnTo>
                    <a:pt x="7904" y="10309"/>
                  </a:lnTo>
                  <a:cubicBezTo>
                    <a:pt x="7877" y="10470"/>
                    <a:pt x="7855" y="10632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6" y="13745"/>
                    <a:pt x="13745" y="12427"/>
                    <a:pt x="13745" y="10800"/>
                  </a:cubicBezTo>
                  <a:cubicBezTo>
                    <a:pt x="13745" y="10632"/>
                    <a:pt x="13723" y="10470"/>
                    <a:pt x="13696" y="10309"/>
                  </a:cubicBezTo>
                  <a:lnTo>
                    <a:pt x="14727" y="10309"/>
                  </a:lnTo>
                  <a:cubicBezTo>
                    <a:pt x="14727" y="10309"/>
                    <a:pt x="14727" y="13745"/>
                    <a:pt x="14727" y="13745"/>
                  </a:cubicBezTo>
                  <a:close/>
                  <a:moveTo>
                    <a:pt x="10800" y="8836"/>
                  </a:move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moveTo>
                    <a:pt x="12764" y="7364"/>
                  </a:moveTo>
                  <a:lnTo>
                    <a:pt x="14236" y="7364"/>
                  </a:lnTo>
                  <a:lnTo>
                    <a:pt x="14236" y="8836"/>
                  </a:lnTo>
                  <a:lnTo>
                    <a:pt x="12764" y="8836"/>
                  </a:lnTo>
                  <a:cubicBezTo>
                    <a:pt x="12764" y="8836"/>
                    <a:pt x="12764" y="7364"/>
                    <a:pt x="12764" y="7364"/>
                  </a:cubicBezTo>
                  <a:close/>
                  <a:moveTo>
                    <a:pt x="13745" y="5891"/>
                  </a:moveTo>
                  <a:lnTo>
                    <a:pt x="7855" y="5891"/>
                  </a:lnTo>
                  <a:cubicBezTo>
                    <a:pt x="6770" y="5891"/>
                    <a:pt x="5891" y="6770"/>
                    <a:pt x="5891" y="7855"/>
                  </a:cubicBezTo>
                  <a:lnTo>
                    <a:pt x="5891" y="13745"/>
                  </a:lnTo>
                  <a:cubicBezTo>
                    <a:pt x="5891" y="14830"/>
                    <a:pt x="6770" y="15709"/>
                    <a:pt x="7855" y="15709"/>
                  </a:cubicBezTo>
                  <a:lnTo>
                    <a:pt x="13745" y="15709"/>
                  </a:lnTo>
                  <a:cubicBezTo>
                    <a:pt x="14830" y="15709"/>
                    <a:pt x="15709" y="14830"/>
                    <a:pt x="15709" y="13745"/>
                  </a:cubicBezTo>
                  <a:lnTo>
                    <a:pt x="15709" y="7855"/>
                  </a:lnTo>
                  <a:cubicBezTo>
                    <a:pt x="15709" y="6770"/>
                    <a:pt x="14830" y="5891"/>
                    <a:pt x="13745" y="5891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399" name="Shape 2879">
              <a:extLst>
                <a:ext uri="{FF2B5EF4-FFF2-40B4-BE49-F238E27FC236}">
                  <a16:creationId xmlns:a16="http://schemas.microsoft.com/office/drawing/2014/main" id="{21D24EB0-D632-43A9-4508-488EA2F805EA}"/>
                </a:ext>
              </a:extLst>
            </p:cNvPr>
            <p:cNvSpPr/>
            <p:nvPr/>
          </p:nvSpPr>
          <p:spPr>
            <a:xfrm>
              <a:off x="15778200" y="7727432"/>
              <a:ext cx="419100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592" y="13291"/>
                  </a:moveTo>
                  <a:cubicBezTo>
                    <a:pt x="11452" y="13213"/>
                    <a:pt x="11342" y="13108"/>
                    <a:pt x="11291" y="12978"/>
                  </a:cubicBezTo>
                  <a:cubicBezTo>
                    <a:pt x="11284" y="12956"/>
                    <a:pt x="11290" y="10299"/>
                    <a:pt x="11290" y="10299"/>
                  </a:cubicBezTo>
                  <a:lnTo>
                    <a:pt x="13256" y="10299"/>
                  </a:lnTo>
                  <a:lnTo>
                    <a:pt x="13256" y="8836"/>
                  </a:lnTo>
                  <a:lnTo>
                    <a:pt x="11292" y="8836"/>
                  </a:lnTo>
                  <a:lnTo>
                    <a:pt x="11292" y="6873"/>
                  </a:lnTo>
                  <a:lnTo>
                    <a:pt x="10042" y="6879"/>
                  </a:lnTo>
                  <a:cubicBezTo>
                    <a:pt x="9988" y="7284"/>
                    <a:pt x="9891" y="7618"/>
                    <a:pt x="9750" y="7879"/>
                  </a:cubicBezTo>
                  <a:cubicBezTo>
                    <a:pt x="9608" y="8142"/>
                    <a:pt x="9420" y="8366"/>
                    <a:pt x="9187" y="8553"/>
                  </a:cubicBezTo>
                  <a:cubicBezTo>
                    <a:pt x="8953" y="8740"/>
                    <a:pt x="8672" y="8883"/>
                    <a:pt x="8344" y="8984"/>
                  </a:cubicBezTo>
                  <a:lnTo>
                    <a:pt x="8345" y="10309"/>
                  </a:lnTo>
                  <a:lnTo>
                    <a:pt x="9328" y="10299"/>
                  </a:lnTo>
                  <a:lnTo>
                    <a:pt x="9328" y="12846"/>
                  </a:lnTo>
                  <a:cubicBezTo>
                    <a:pt x="9328" y="13204"/>
                    <a:pt x="9368" y="13478"/>
                    <a:pt x="9448" y="13666"/>
                  </a:cubicBezTo>
                  <a:cubicBezTo>
                    <a:pt x="9528" y="13856"/>
                    <a:pt x="9671" y="14034"/>
                    <a:pt x="9879" y="14202"/>
                  </a:cubicBezTo>
                  <a:cubicBezTo>
                    <a:pt x="10086" y="14370"/>
                    <a:pt x="10336" y="14498"/>
                    <a:pt x="10629" y="14589"/>
                  </a:cubicBezTo>
                  <a:cubicBezTo>
                    <a:pt x="10922" y="14679"/>
                    <a:pt x="11238" y="14727"/>
                    <a:pt x="11619" y="14727"/>
                  </a:cubicBezTo>
                  <a:cubicBezTo>
                    <a:pt x="11955" y="14727"/>
                    <a:pt x="12228" y="14693"/>
                    <a:pt x="12517" y="14629"/>
                  </a:cubicBezTo>
                  <a:cubicBezTo>
                    <a:pt x="12806" y="14565"/>
                    <a:pt x="13221" y="14455"/>
                    <a:pt x="13578" y="14297"/>
                  </a:cubicBezTo>
                  <a:lnTo>
                    <a:pt x="13583" y="13091"/>
                  </a:lnTo>
                  <a:cubicBezTo>
                    <a:pt x="13165" y="13349"/>
                    <a:pt x="12648" y="13447"/>
                    <a:pt x="12225" y="13447"/>
                  </a:cubicBezTo>
                  <a:cubicBezTo>
                    <a:pt x="11987" y="13447"/>
                    <a:pt x="11776" y="13395"/>
                    <a:pt x="11592" y="13291"/>
                  </a:cubicBezTo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  <p:sp>
          <p:nvSpPr>
            <p:cNvPr id="409" name="Shape 2889">
              <a:extLst>
                <a:ext uri="{FF2B5EF4-FFF2-40B4-BE49-F238E27FC236}">
                  <a16:creationId xmlns:a16="http://schemas.microsoft.com/office/drawing/2014/main" id="{D28CAB12-123B-E196-EB35-D5F5A21CE1D1}"/>
                </a:ext>
              </a:extLst>
            </p:cNvPr>
            <p:cNvSpPr/>
            <p:nvPr/>
          </p:nvSpPr>
          <p:spPr>
            <a:xfrm>
              <a:off x="15816300" y="8527447"/>
              <a:ext cx="342901" cy="419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069" y="13659"/>
                  </a:moveTo>
                  <a:cubicBezTo>
                    <a:pt x="9923" y="13659"/>
                    <a:pt x="9818" y="13653"/>
                    <a:pt x="9732" y="13636"/>
                  </a:cubicBezTo>
                  <a:lnTo>
                    <a:pt x="9732" y="12486"/>
                  </a:lnTo>
                  <a:cubicBezTo>
                    <a:pt x="9805" y="12469"/>
                    <a:pt x="9943" y="12452"/>
                    <a:pt x="10148" y="12452"/>
                  </a:cubicBezTo>
                  <a:cubicBezTo>
                    <a:pt x="10650" y="12452"/>
                    <a:pt x="10934" y="12665"/>
                    <a:pt x="10934" y="13023"/>
                  </a:cubicBezTo>
                  <a:cubicBezTo>
                    <a:pt x="10934" y="13422"/>
                    <a:pt x="10604" y="13659"/>
                    <a:pt x="10069" y="13659"/>
                  </a:cubicBezTo>
                  <a:moveTo>
                    <a:pt x="10096" y="11787"/>
                  </a:moveTo>
                  <a:cubicBezTo>
                    <a:pt x="9481" y="11787"/>
                    <a:pt x="9046" y="11822"/>
                    <a:pt x="8736" y="11869"/>
                  </a:cubicBezTo>
                  <a:lnTo>
                    <a:pt x="8736" y="15709"/>
                  </a:lnTo>
                  <a:lnTo>
                    <a:pt x="9732" y="15709"/>
                  </a:lnTo>
                  <a:lnTo>
                    <a:pt x="9732" y="14317"/>
                  </a:lnTo>
                  <a:cubicBezTo>
                    <a:pt x="9825" y="14328"/>
                    <a:pt x="9943" y="14334"/>
                    <a:pt x="10076" y="14334"/>
                  </a:cubicBezTo>
                  <a:cubicBezTo>
                    <a:pt x="10670" y="14334"/>
                    <a:pt x="11178" y="14207"/>
                    <a:pt x="11521" y="13924"/>
                  </a:cubicBezTo>
                  <a:cubicBezTo>
                    <a:pt x="11786" y="13705"/>
                    <a:pt x="11931" y="13382"/>
                    <a:pt x="11931" y="13000"/>
                  </a:cubicBezTo>
                  <a:cubicBezTo>
                    <a:pt x="11931" y="12619"/>
                    <a:pt x="11739" y="12296"/>
                    <a:pt x="11455" y="12099"/>
                  </a:cubicBezTo>
                  <a:cubicBezTo>
                    <a:pt x="11159" y="11891"/>
                    <a:pt x="10716" y="11787"/>
                    <a:pt x="10096" y="11787"/>
                  </a:cubicBezTo>
                  <a:moveTo>
                    <a:pt x="12131" y="13809"/>
                  </a:moveTo>
                  <a:cubicBezTo>
                    <a:pt x="12124" y="14381"/>
                    <a:pt x="12349" y="14888"/>
                    <a:pt x="12758" y="15224"/>
                  </a:cubicBezTo>
                  <a:cubicBezTo>
                    <a:pt x="13167" y="15571"/>
                    <a:pt x="13755" y="15749"/>
                    <a:pt x="14566" y="15749"/>
                  </a:cubicBezTo>
                  <a:cubicBezTo>
                    <a:pt x="15155" y="15749"/>
                    <a:pt x="15742" y="15622"/>
                    <a:pt x="16052" y="15530"/>
                  </a:cubicBezTo>
                  <a:lnTo>
                    <a:pt x="16052" y="13479"/>
                  </a:lnTo>
                  <a:lnTo>
                    <a:pt x="14395" y="13479"/>
                  </a:lnTo>
                  <a:lnTo>
                    <a:pt x="14395" y="14167"/>
                  </a:lnTo>
                  <a:lnTo>
                    <a:pt x="15081" y="14167"/>
                  </a:lnTo>
                  <a:lnTo>
                    <a:pt x="15081" y="14981"/>
                  </a:lnTo>
                  <a:cubicBezTo>
                    <a:pt x="15002" y="15015"/>
                    <a:pt x="14818" y="15039"/>
                    <a:pt x="14586" y="15039"/>
                  </a:cubicBezTo>
                  <a:cubicBezTo>
                    <a:pt x="13761" y="15039"/>
                    <a:pt x="13187" y="14566"/>
                    <a:pt x="13187" y="13762"/>
                  </a:cubicBezTo>
                  <a:cubicBezTo>
                    <a:pt x="13187" y="12919"/>
                    <a:pt x="13821" y="12503"/>
                    <a:pt x="14659" y="12503"/>
                  </a:cubicBezTo>
                  <a:cubicBezTo>
                    <a:pt x="15148" y="12503"/>
                    <a:pt x="15451" y="12579"/>
                    <a:pt x="15696" y="12671"/>
                  </a:cubicBezTo>
                  <a:lnTo>
                    <a:pt x="15906" y="11966"/>
                  </a:lnTo>
                  <a:cubicBezTo>
                    <a:pt x="15689" y="11874"/>
                    <a:pt x="15247" y="11776"/>
                    <a:pt x="14672" y="11776"/>
                  </a:cubicBezTo>
                  <a:cubicBezTo>
                    <a:pt x="13213" y="11776"/>
                    <a:pt x="12138" y="12515"/>
                    <a:pt x="12131" y="13809"/>
                  </a:cubicBezTo>
                  <a:moveTo>
                    <a:pt x="14400" y="5891"/>
                  </a:moveTo>
                  <a:lnTo>
                    <a:pt x="14400" y="982"/>
                  </a:lnTo>
                  <a:lnTo>
                    <a:pt x="15000" y="982"/>
                  </a:lnTo>
                  <a:lnTo>
                    <a:pt x="20400" y="5891"/>
                  </a:lnTo>
                  <a:cubicBezTo>
                    <a:pt x="20400" y="5891"/>
                    <a:pt x="14400" y="5891"/>
                    <a:pt x="14400" y="5891"/>
                  </a:cubicBezTo>
                  <a:close/>
                  <a:moveTo>
                    <a:pt x="20400" y="19636"/>
                  </a:moveTo>
                  <a:cubicBezTo>
                    <a:pt x="20400" y="20179"/>
                    <a:pt x="19863" y="20618"/>
                    <a:pt x="19200" y="20618"/>
                  </a:cubicBezTo>
                  <a:lnTo>
                    <a:pt x="2400" y="20618"/>
                  </a:lnTo>
                  <a:cubicBezTo>
                    <a:pt x="1737" y="20618"/>
                    <a:pt x="1200" y="20179"/>
                    <a:pt x="1200" y="19636"/>
                  </a:cubicBezTo>
                  <a:lnTo>
                    <a:pt x="1200" y="1964"/>
                  </a:lnTo>
                  <a:cubicBezTo>
                    <a:pt x="1200" y="1421"/>
                    <a:pt x="1737" y="982"/>
                    <a:pt x="2400" y="982"/>
                  </a:cubicBezTo>
                  <a:lnTo>
                    <a:pt x="13200" y="982"/>
                  </a:lnTo>
                  <a:lnTo>
                    <a:pt x="13200" y="5891"/>
                  </a:lnTo>
                  <a:cubicBezTo>
                    <a:pt x="13200" y="6433"/>
                    <a:pt x="13737" y="6872"/>
                    <a:pt x="14400" y="6872"/>
                  </a:cubicBezTo>
                  <a:lnTo>
                    <a:pt x="20400" y="6872"/>
                  </a:lnTo>
                  <a:cubicBezTo>
                    <a:pt x="20400" y="6872"/>
                    <a:pt x="20400" y="19636"/>
                    <a:pt x="20400" y="19636"/>
                  </a:cubicBezTo>
                  <a:close/>
                  <a:moveTo>
                    <a:pt x="156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5400"/>
                  </a:lnTo>
                  <a:cubicBezTo>
                    <a:pt x="21600" y="5400"/>
                    <a:pt x="15600" y="0"/>
                    <a:pt x="15600" y="0"/>
                  </a:cubicBezTo>
                  <a:close/>
                  <a:moveTo>
                    <a:pt x="6606" y="14265"/>
                  </a:moveTo>
                  <a:cubicBezTo>
                    <a:pt x="6606" y="14872"/>
                    <a:pt x="6343" y="15039"/>
                    <a:pt x="5920" y="15039"/>
                  </a:cubicBezTo>
                  <a:cubicBezTo>
                    <a:pt x="5722" y="15039"/>
                    <a:pt x="5544" y="15010"/>
                    <a:pt x="5406" y="14969"/>
                  </a:cubicBezTo>
                  <a:lnTo>
                    <a:pt x="5293" y="15680"/>
                  </a:lnTo>
                  <a:cubicBezTo>
                    <a:pt x="5491" y="15738"/>
                    <a:pt x="5795" y="15773"/>
                    <a:pt x="6026" y="15773"/>
                  </a:cubicBezTo>
                  <a:cubicBezTo>
                    <a:pt x="7003" y="15773"/>
                    <a:pt x="7610" y="15385"/>
                    <a:pt x="7610" y="14276"/>
                  </a:cubicBezTo>
                  <a:lnTo>
                    <a:pt x="7610" y="11816"/>
                  </a:lnTo>
                  <a:lnTo>
                    <a:pt x="6606" y="11816"/>
                  </a:lnTo>
                  <a:cubicBezTo>
                    <a:pt x="6606" y="11816"/>
                    <a:pt x="6606" y="14265"/>
                    <a:pt x="6606" y="14265"/>
                  </a:cubicBezTo>
                  <a:close/>
                </a:path>
              </a:pathLst>
            </a:custGeom>
            <a:solidFill>
              <a:srgbClr val="000000"/>
            </a:solidFill>
            <a:ln w="12700">
              <a:miter lim="400000"/>
            </a:ln>
          </p:spPr>
          <p:txBody>
            <a:bodyPr lIns="28571" tIns="28571" rIns="28571" bIns="28571" anchor="ctr"/>
            <a:lstStyle/>
            <a:p>
              <a:pPr defTabSz="34284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00"/>
            </a:p>
          </p:txBody>
        </p:sp>
      </p:grpSp>
      <p:sp>
        <p:nvSpPr>
          <p:cNvPr id="410" name="Shape 2890">
            <a:extLst>
              <a:ext uri="{FF2B5EF4-FFF2-40B4-BE49-F238E27FC236}">
                <a16:creationId xmlns:a16="http://schemas.microsoft.com/office/drawing/2014/main" id="{2A37E1A4-9295-AB71-2408-5CAC2589A3B7}"/>
              </a:ext>
            </a:extLst>
          </p:cNvPr>
          <p:cNvSpPr/>
          <p:nvPr/>
        </p:nvSpPr>
        <p:spPr>
          <a:xfrm>
            <a:off x="17230723" y="8527447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</p:spTree>
    <p:extLst>
      <p:ext uri="{BB962C8B-B14F-4D97-AF65-F5344CB8AC3E}">
        <p14:creationId xmlns:p14="http://schemas.microsoft.com/office/powerpoint/2010/main" val="1843176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02</TotalTime>
  <Words>5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Icons (1/3)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67</cp:revision>
  <dcterms:created xsi:type="dcterms:W3CDTF">2006-08-16T00:00:00Z</dcterms:created>
  <dcterms:modified xsi:type="dcterms:W3CDTF">2025-10-06T10:48:52Z</dcterms:modified>
  <cp:category/>
  <dc:identifier>DAGkDf5R9EM</dc:identifier>
</cp:coreProperties>
</file>